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51" r:id="rId4"/>
    <p:sldMasterId id="2147484276" r:id="rId5"/>
  </p:sldMasterIdLst>
  <p:notesMasterIdLst>
    <p:notesMasterId r:id="rId22"/>
  </p:notesMasterIdLst>
  <p:handoutMasterIdLst>
    <p:handoutMasterId r:id="rId23"/>
  </p:handoutMasterIdLst>
  <p:sldIdLst>
    <p:sldId id="1037" r:id="rId6"/>
    <p:sldId id="257" r:id="rId7"/>
    <p:sldId id="258" r:id="rId8"/>
    <p:sldId id="259" r:id="rId9"/>
    <p:sldId id="260" r:id="rId10"/>
    <p:sldId id="261" r:id="rId11"/>
    <p:sldId id="1097" r:id="rId12"/>
    <p:sldId id="1098" r:id="rId13"/>
    <p:sldId id="1099" r:id="rId14"/>
    <p:sldId id="1100" r:id="rId15"/>
    <p:sldId id="1102" r:id="rId16"/>
    <p:sldId id="1101" r:id="rId17"/>
    <p:sldId id="1104" r:id="rId18"/>
    <p:sldId id="1105" r:id="rId19"/>
    <p:sldId id="264" r:id="rId20"/>
    <p:sldId id="1096"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28A9C34C-4A8C-4DDC-AA3C-A2548070B424}">
          <p14:sldIdLst>
            <p14:sldId id="1037"/>
            <p14:sldId id="257"/>
            <p14:sldId id="258"/>
            <p14:sldId id="259"/>
            <p14:sldId id="260"/>
            <p14:sldId id="261"/>
            <p14:sldId id="1097"/>
            <p14:sldId id="1098"/>
            <p14:sldId id="1099"/>
            <p14:sldId id="1100"/>
            <p14:sldId id="1102"/>
            <p14:sldId id="1101"/>
            <p14:sldId id="1104"/>
            <p14:sldId id="1105"/>
            <p14:sldId id="264"/>
            <p14:sldId id="1096"/>
          </p14:sldIdLst>
        </p14:section>
        <p14:section name="Guidelines" id="{FACF747E-BE45-4D71-822C-072A8397E7D8}">
          <p14:sldIdLst/>
        </p14:section>
        <p14:section name="Title Slide" id="{E2D9A233-4890-4AC2-99B6-6A7148D97367}">
          <p14:sldIdLst/>
        </p14:section>
        <p14:section name="Guidlines_Color Palette" id="{37000F7D-31B9-4F25-8561-05E4F809BA0C}">
          <p14:sldIdLst/>
        </p14:section>
        <p14:section name="Content Slides" id="{88D50874-6E8E-4029-ADEE-470EC6EACF6E}">
          <p14:sldIdLst/>
        </p14:section>
        <p14:section name="Transition Slide" id="{C544E048-F204-44AA-BDEA-953E88D01326}">
          <p14:sldIdLst/>
        </p14:section>
        <p14:section name="Example Layout Templates" id="{5E6D2C83-A4C6-4211-983F-64D279DE1006}">
          <p14:sldIdLst/>
        </p14:section>
        <p14:section name="Shapes" id="{3764AA1B-E2E6-4086-8CC5-AFE45F6E7E87}">
          <p14:sldIdLst/>
        </p14:section>
        <p14:section name="Icons" id="{5DA8AE88-FD20-4587-AC68-E98E73756418}">
          <p14:sldIdLst/>
        </p14:section>
        <p14:section name="Logo End Slide" id="{A570D02E-BEFD-4171-8BE1-56EF74AD9D8A}">
          <p14:sldIdLst/>
        </p14:section>
      </p14:sectionLst>
    </p:ext>
    <p:ext uri="{EFAFB233-063F-42B5-8137-9DF3F51BA10A}">
      <p15:sldGuideLst xmlns:p15="http://schemas.microsoft.com/office/powerpoint/2012/main">
        <p15:guide id="1" orient="horz" pos="2968" userDrawn="1">
          <p15:clr>
            <a:srgbClr val="A4A3A4"/>
          </p15:clr>
        </p15:guide>
        <p15:guide id="2" pos="7632" userDrawn="1">
          <p15:clr>
            <a:srgbClr val="A4A3A4"/>
          </p15:clr>
        </p15:guide>
        <p15:guide id="3" orient="horz" pos="3295">
          <p15:clr>
            <a:srgbClr val="A4A3A4"/>
          </p15:clr>
        </p15:guide>
        <p15:guide id="4" pos="76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Kay, Hannah" initials="KH" lastIdx="6" clrIdx="1"/>
  <p:cmAuthor id="3" name="Hannah Kay" initials="HK"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A0A9"/>
    <a:srgbClr val="43484D"/>
    <a:srgbClr val="E7EAED"/>
    <a:srgbClr val="8E9CA8"/>
    <a:srgbClr val="C2CAD0"/>
    <a:srgbClr val="CDD4D9"/>
    <a:srgbClr val="9EAAB4"/>
    <a:srgbClr val="262C32"/>
    <a:srgbClr val="F7531A"/>
    <a:srgbClr val="6969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22" autoAdjust="0"/>
    <p:restoredTop sz="77278" autoAdjust="0"/>
  </p:normalViewPr>
  <p:slideViewPr>
    <p:cSldViewPr snapToGrid="0">
      <p:cViewPr varScale="1">
        <p:scale>
          <a:sx n="111" d="100"/>
          <a:sy n="111" d="100"/>
        </p:scale>
        <p:origin x="444" y="96"/>
      </p:cViewPr>
      <p:guideLst>
        <p:guide orient="horz" pos="2968"/>
        <p:guide pos="7632"/>
        <p:guide orient="horz" pos="3295"/>
        <p:guide pos="765"/>
      </p:guideLst>
    </p:cSldViewPr>
  </p:slideViewPr>
  <p:outlineViewPr>
    <p:cViewPr>
      <p:scale>
        <a:sx n="33" d="100"/>
        <a:sy n="33" d="100"/>
      </p:scale>
      <p:origin x="0" y="0"/>
    </p:cViewPr>
  </p:outlineViewPr>
  <p:notesTextViewPr>
    <p:cViewPr>
      <p:scale>
        <a:sx n="3" d="2"/>
        <a:sy n="3" d="2"/>
      </p:scale>
      <p:origin x="0" y="0"/>
    </p:cViewPr>
  </p:notesTextViewPr>
  <p:sorterViewPr>
    <p:cViewPr>
      <p:scale>
        <a:sx n="140" d="100"/>
        <a:sy n="140" d="100"/>
      </p:scale>
      <p:origin x="0" y="0"/>
    </p:cViewPr>
  </p:sorterViewPr>
  <p:notesViewPr>
    <p:cSldViewPr snapToGrid="0">
      <p:cViewPr varScale="1">
        <p:scale>
          <a:sx n="82" d="100"/>
          <a:sy n="82" d="100"/>
        </p:scale>
        <p:origin x="-313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17751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grpSp>
        <p:nvGrpSpPr>
          <p:cNvPr id="6" name="Group 5"/>
          <p:cNvGrpSpPr/>
          <p:nvPr/>
        </p:nvGrpSpPr>
        <p:grpSpPr>
          <a:xfrm>
            <a:off x="423160" y="8627205"/>
            <a:ext cx="592601" cy="341535"/>
            <a:chOff x="1768475" y="3789363"/>
            <a:chExt cx="3098800" cy="1785938"/>
          </a:xfrm>
        </p:grpSpPr>
        <p:sp>
          <p:nvSpPr>
            <p:cNvPr id="7"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dirty="0"/>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p:cNvSpPr>
            <a:spLocks noGrp="1"/>
          </p:cNvSpPr>
          <p:nvPr>
            <p:ph type="ftr" sz="quarter" idx="4"/>
          </p:nvPr>
        </p:nvSpPr>
        <p:spPr>
          <a:xfrm>
            <a:off x="117751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9" name="Slide Number Placeholder 4"/>
          <p:cNvSpPr>
            <a:spLocks noGrp="1"/>
          </p:cNvSpPr>
          <p:nvPr>
            <p:ph type="sldNum" sz="quarter" idx="5"/>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grpSp>
        <p:nvGrpSpPr>
          <p:cNvPr id="10" name="Group 9"/>
          <p:cNvGrpSpPr/>
          <p:nvPr/>
        </p:nvGrpSpPr>
        <p:grpSpPr>
          <a:xfrm>
            <a:off x="423160" y="8627205"/>
            <a:ext cx="592601" cy="341535"/>
            <a:chOff x="1768475" y="3789363"/>
            <a:chExt cx="3098800" cy="1785938"/>
          </a:xfrm>
        </p:grpSpPr>
        <p:sp>
          <p:nvSpPr>
            <p:cNvPr id="11"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34"/>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Calibri" panose="020F050202020403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Calibri" panose="020F050202020403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Calibri" panose="020F050202020403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Calibri" panose="020F050202020403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nSpc>
                <a:spcPct val="93000"/>
              </a:lnSpc>
            </a:pPr>
            <a:fld id="{CCF787FE-A727-45E5-A50B-58A9041FD46F}" type="slidenum">
              <a: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1</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Tree>
    <p:extLst>
      <p:ext uri="{BB962C8B-B14F-4D97-AF65-F5344CB8AC3E}">
        <p14:creationId xmlns:p14="http://schemas.microsoft.com/office/powerpoint/2010/main" val="9829607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3.jpeg"/><Relationship Id="rId7"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jp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Master Title Slide">
    <p:spTree>
      <p:nvGrpSpPr>
        <p:cNvPr id="1" name=""/>
        <p:cNvGrpSpPr/>
        <p:nvPr/>
      </p:nvGrpSpPr>
      <p:grpSpPr>
        <a:xfrm>
          <a:off x="0" y="0"/>
          <a:ext cx="0" cy="0"/>
          <a:chOff x="0" y="0"/>
          <a:chExt cx="0" cy="0"/>
        </a:xfrm>
      </p:grpSpPr>
      <p:sp>
        <p:nvSpPr>
          <p:cNvPr id="76" name="Freeform: Shape 75">
            <a:extLst>
              <a:ext uri="{FF2B5EF4-FFF2-40B4-BE49-F238E27FC236}">
                <a16:creationId xmlns:a16="http://schemas.microsoft.com/office/drawing/2014/main" id="{86227A85-A027-49EF-8BE3-F786C5B42B59}"/>
              </a:ext>
            </a:extLst>
          </p:cNvPr>
          <p:cNvSpPr/>
          <p:nvPr userDrawn="1"/>
        </p:nvSpPr>
        <p:spPr>
          <a:xfrm>
            <a:off x="-10302" y="0"/>
            <a:ext cx="4559818" cy="6858008"/>
          </a:xfrm>
          <a:custGeom>
            <a:avLst/>
            <a:gdLst>
              <a:gd name="connsiteX0" fmla="*/ 0 w 4559818"/>
              <a:gd name="connsiteY0" fmla="*/ 0 h 6858008"/>
              <a:gd name="connsiteX1" fmla="*/ 3785343 w 4559818"/>
              <a:gd name="connsiteY1" fmla="*/ 0 h 6858008"/>
              <a:gd name="connsiteX2" fmla="*/ 3785343 w 4559818"/>
              <a:gd name="connsiteY2" fmla="*/ 7 h 6858008"/>
              <a:gd name="connsiteX3" fmla="*/ 3890839 w 4559818"/>
              <a:gd name="connsiteY3" fmla="*/ 8 h 6858008"/>
              <a:gd name="connsiteX4" fmla="*/ 4460230 w 4559818"/>
              <a:gd name="connsiteY4" fmla="*/ 2766069 h 6858008"/>
              <a:gd name="connsiteX5" fmla="*/ 4448692 w 4559818"/>
              <a:gd name="connsiteY5" fmla="*/ 4101493 h 6858008"/>
              <a:gd name="connsiteX6" fmla="*/ 3890837 w 4559818"/>
              <a:gd name="connsiteY6" fmla="*/ 6858008 h 6858008"/>
              <a:gd name="connsiteX7" fmla="*/ 1217929 w 4559818"/>
              <a:gd name="connsiteY7" fmla="*/ 6858008 h 6858008"/>
              <a:gd name="connsiteX8" fmla="*/ 996747 w 4559818"/>
              <a:gd name="connsiteY8" fmla="*/ 6858008 h 6858008"/>
              <a:gd name="connsiteX9" fmla="*/ 996747 w 4559818"/>
              <a:gd name="connsiteY9" fmla="*/ 6858002 h 6858008"/>
              <a:gd name="connsiteX10" fmla="*/ 3670491 w 4559818"/>
              <a:gd name="connsiteY10" fmla="*/ 6858003 h 6858008"/>
              <a:gd name="connsiteX11" fmla="*/ 3670493 w 4559818"/>
              <a:gd name="connsiteY11" fmla="*/ 6857996 h 6858008"/>
              <a:gd name="connsiteX12" fmla="*/ 0 w 4559818"/>
              <a:gd name="connsiteY12" fmla="*/ 6857996 h 685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59818" h="6858008">
                <a:moveTo>
                  <a:pt x="0" y="0"/>
                </a:moveTo>
                <a:lnTo>
                  <a:pt x="3785343" y="0"/>
                </a:lnTo>
                <a:lnTo>
                  <a:pt x="3785343" y="7"/>
                </a:lnTo>
                <a:lnTo>
                  <a:pt x="3890839" y="8"/>
                </a:lnTo>
                <a:lnTo>
                  <a:pt x="4460230" y="2766069"/>
                </a:lnTo>
                <a:cubicBezTo>
                  <a:pt x="4601491" y="3412207"/>
                  <a:pt x="4587819" y="3432552"/>
                  <a:pt x="4448692" y="4101493"/>
                </a:cubicBezTo>
                <a:lnTo>
                  <a:pt x="3890837" y="6858008"/>
                </a:lnTo>
                <a:lnTo>
                  <a:pt x="1217929" y="6858008"/>
                </a:lnTo>
                <a:lnTo>
                  <a:pt x="996747" y="6858008"/>
                </a:lnTo>
                <a:lnTo>
                  <a:pt x="996747" y="6858002"/>
                </a:lnTo>
                <a:lnTo>
                  <a:pt x="3670491" y="6858003"/>
                </a:lnTo>
                <a:lnTo>
                  <a:pt x="3670493" y="6857996"/>
                </a:lnTo>
                <a:lnTo>
                  <a:pt x="0" y="6857996"/>
                </a:lnTo>
                <a:close/>
              </a:path>
            </a:pathLst>
          </a:custGeom>
          <a:gradFill flip="none" rotWithShape="1">
            <a:gsLst>
              <a:gs pos="0">
                <a:srgbClr val="43484D">
                  <a:shade val="30000"/>
                  <a:satMod val="115000"/>
                </a:srgbClr>
              </a:gs>
              <a:gs pos="50000">
                <a:srgbClr val="43484D">
                  <a:shade val="67500"/>
                  <a:satMod val="115000"/>
                </a:srgbClr>
              </a:gs>
              <a:gs pos="100000">
                <a:srgbClr val="43484D">
                  <a:shade val="100000"/>
                  <a:satMod val="115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8" name="Freeform: Shape 97"/>
          <p:cNvSpPr/>
          <p:nvPr userDrawn="1"/>
        </p:nvSpPr>
        <p:spPr>
          <a:xfrm rot="16200000">
            <a:off x="-772953" y="1647466"/>
            <a:ext cx="6858003" cy="3563071"/>
          </a:xfrm>
          <a:custGeom>
            <a:avLst/>
            <a:gdLst>
              <a:gd name="connsiteX0" fmla="*/ 6858003 w 6858003"/>
              <a:gd name="connsiteY0" fmla="*/ 319806 h 3563071"/>
              <a:gd name="connsiteX1" fmla="*/ 6858002 w 6858003"/>
              <a:gd name="connsiteY1" fmla="*/ 2894092 h 3563071"/>
              <a:gd name="connsiteX2" fmla="*/ 4091941 w 6858003"/>
              <a:gd name="connsiteY2" fmla="*/ 3463483 h 3563071"/>
              <a:gd name="connsiteX3" fmla="*/ 2756517 w 6858003"/>
              <a:gd name="connsiteY3" fmla="*/ 3451945 h 3563071"/>
              <a:gd name="connsiteX4" fmla="*/ 1 w 6858003"/>
              <a:gd name="connsiteY4" fmla="*/ 2894090 h 3563071"/>
              <a:gd name="connsiteX5" fmla="*/ 1 w 6858003"/>
              <a:gd name="connsiteY5" fmla="*/ 2346278 h 3563071"/>
              <a:gd name="connsiteX6" fmla="*/ 0 w 6858003"/>
              <a:gd name="connsiteY6" fmla="*/ 2346278 h 3563071"/>
              <a:gd name="connsiteX7" fmla="*/ 0 w 6858003"/>
              <a:gd name="connsiteY7" fmla="*/ 0 h 3563071"/>
              <a:gd name="connsiteX8" fmla="*/ 6858002 w 6858003"/>
              <a:gd name="connsiteY8" fmla="*/ 0 h 3563071"/>
              <a:gd name="connsiteX9" fmla="*/ 6858002 w 6858003"/>
              <a:gd name="connsiteY9" fmla="*/ 319806 h 35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3" h="3563071">
                <a:moveTo>
                  <a:pt x="6858003" y="319806"/>
                </a:moveTo>
                <a:lnTo>
                  <a:pt x="6858002" y="2894092"/>
                </a:lnTo>
                <a:lnTo>
                  <a:pt x="4091941" y="3463483"/>
                </a:lnTo>
                <a:cubicBezTo>
                  <a:pt x="3445803" y="3604744"/>
                  <a:pt x="3425458" y="3591072"/>
                  <a:pt x="2756517" y="3451945"/>
                </a:cubicBezTo>
                <a:lnTo>
                  <a:pt x="1" y="2894090"/>
                </a:lnTo>
                <a:lnTo>
                  <a:pt x="1" y="2346278"/>
                </a:lnTo>
                <a:lnTo>
                  <a:pt x="0" y="2346278"/>
                </a:lnTo>
                <a:lnTo>
                  <a:pt x="0" y="0"/>
                </a:lnTo>
                <a:lnTo>
                  <a:pt x="6858002" y="0"/>
                </a:lnTo>
                <a:lnTo>
                  <a:pt x="6858002" y="319806"/>
                </a:lnTo>
                <a:close/>
              </a:path>
            </a:pathLst>
          </a:custGeom>
          <a:gradFill flip="none" rotWithShape="1">
            <a:gsLst>
              <a:gs pos="1000">
                <a:schemeClr val="tx1">
                  <a:alpha val="58000"/>
                </a:schemeClr>
              </a:gs>
              <a:gs pos="41000">
                <a:schemeClr val="tx1">
                  <a:lumMod val="85000"/>
                  <a:lumOff val="15000"/>
                  <a:alpha val="18000"/>
                </a:schemeClr>
              </a:gs>
              <a:gs pos="100000">
                <a:schemeClr val="tx1">
                  <a:lumMod val="85000"/>
                  <a:lumOff val="15000"/>
                  <a:alpha val="0"/>
                </a:schemeClr>
              </a:gs>
            </a:gsLst>
            <a:lin ang="16200000" scaled="1"/>
            <a:tileRect/>
          </a:gradFill>
          <a:ln>
            <a:noFill/>
          </a:ln>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sp>
        <p:nvSpPr>
          <p:cNvPr id="2" name="Title 1"/>
          <p:cNvSpPr>
            <a:spLocks noGrp="1"/>
          </p:cNvSpPr>
          <p:nvPr userDrawn="1">
            <p:ph type="ctrTitle" hasCustomPrompt="1"/>
          </p:nvPr>
        </p:nvSpPr>
        <p:spPr bwMode="gray">
          <a:xfrm>
            <a:off x="5211047" y="779959"/>
            <a:ext cx="6286534" cy="1107080"/>
          </a:xfrm>
        </p:spPr>
        <p:txBody>
          <a:bodyPr wrap="square" anchor="b">
            <a:noAutofit/>
          </a:bodyPr>
          <a:lstStyle>
            <a:lvl1pPr algn="l">
              <a:lnSpc>
                <a:spcPct val="80000"/>
              </a:lnSpc>
              <a:defRPr sz="4200" spc="0" baseline="0">
                <a:solidFill>
                  <a:schemeClr val="tx1">
                    <a:lumMod val="85000"/>
                    <a:lumOff val="15000"/>
                  </a:schemeClr>
                </a:solidFill>
                <a:latin typeface="Calibri" panose="020F0502020204030204" pitchFamily="34" charset="0"/>
                <a:cs typeface="Calibri" panose="020F0502020204030204" pitchFamily="34" charset="0"/>
              </a:defRPr>
            </a:lvl1pPr>
          </a:lstStyle>
          <a:p>
            <a:r>
              <a:rPr lang="en-US" dirty="0"/>
              <a:t>Design Intake Submission Guide (Non-Permitted Job)</a:t>
            </a:r>
          </a:p>
        </p:txBody>
      </p:sp>
      <p:sp>
        <p:nvSpPr>
          <p:cNvPr id="121" name="Text Placeholder 7"/>
          <p:cNvSpPr>
            <a:spLocks noGrp="1"/>
          </p:cNvSpPr>
          <p:nvPr>
            <p:ph type="body" sz="quarter" idx="15" hasCustomPrompt="1"/>
          </p:nvPr>
        </p:nvSpPr>
        <p:spPr bwMode="gray">
          <a:xfrm>
            <a:off x="5201255" y="1911412"/>
            <a:ext cx="6294824" cy="573012"/>
          </a:xfrm>
        </p:spPr>
        <p:txBody>
          <a:bodyPr>
            <a:noAutofit/>
          </a:bodyPr>
          <a:lstStyle>
            <a:lvl1pPr marL="0" indent="0" algn="l">
              <a:spcBef>
                <a:spcPts val="0"/>
              </a:spcBef>
              <a:spcAft>
                <a:spcPts val="600"/>
              </a:spcAft>
              <a:buFont typeface="Microsoft Sans Serif" panose="020B0604020202020204" pitchFamily="34" charset="0"/>
              <a:buChar char="​"/>
              <a:defRPr lang="en-US" sz="3000" kern="1200" spc="0" baseline="0" dirty="0">
                <a:solidFill>
                  <a:schemeClr val="tx1">
                    <a:lumMod val="85000"/>
                    <a:lumOff val="15000"/>
                  </a:schemeClr>
                </a:solidFill>
                <a:latin typeface="Calibri" panose="020F0502020204030204" pitchFamily="34" charset="0"/>
                <a:ea typeface="+mj-ea"/>
                <a:cs typeface="Calibri" panose="020F0502020204030204" pitchFamily="34" charset="0"/>
              </a:defRPr>
            </a:lvl1pPr>
            <a:lvl2pPr marL="0" indent="0" algn="l">
              <a:lnSpc>
                <a:spcPct val="98000"/>
              </a:lnSpc>
              <a:spcBef>
                <a:spcPts val="0"/>
              </a:spcBef>
              <a:buFont typeface="Microsoft Sans Serif" panose="020B0604020202020204" pitchFamily="34" charset="0"/>
              <a:buNone/>
              <a:defRPr sz="22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Austin Build + Connect</a:t>
            </a:r>
          </a:p>
        </p:txBody>
      </p:sp>
      <p:sp>
        <p:nvSpPr>
          <p:cNvPr id="146" name="Text Placeholder 5"/>
          <p:cNvSpPr>
            <a:spLocks noGrp="1"/>
          </p:cNvSpPr>
          <p:nvPr>
            <p:ph type="body" sz="quarter" idx="13" hasCustomPrompt="1"/>
          </p:nvPr>
        </p:nvSpPr>
        <p:spPr bwMode="gray">
          <a:xfrm>
            <a:off x="5185351" y="6158542"/>
            <a:ext cx="2620484" cy="172807"/>
          </a:xfrm>
        </p:spPr>
        <p:txBody>
          <a:bodyPr/>
          <a:lstStyle>
            <a:lvl1pPr marL="0" indent="0" algn="l">
              <a:lnSpc>
                <a:spcPct val="98000"/>
              </a:lnSpc>
              <a:spcBef>
                <a:spcPts val="0"/>
              </a:spcBef>
              <a:buNone/>
              <a:defRPr sz="1300" b="0">
                <a:solidFill>
                  <a:schemeClr val="tx1">
                    <a:lumMod val="85000"/>
                    <a:lumOff val="15000"/>
                  </a:schemeClr>
                </a:solidFill>
                <a:latin typeface="+mj-lt"/>
                <a:cs typeface="Arial" panose="020B0604020202020204" pitchFamily="34" charset="0"/>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March 30, 2021</a:t>
            </a:r>
          </a:p>
        </p:txBody>
      </p:sp>
      <p:sp>
        <p:nvSpPr>
          <p:cNvPr id="79" name="Freeform: Shape 78"/>
          <p:cNvSpPr/>
          <p:nvPr userDrawn="1"/>
        </p:nvSpPr>
        <p:spPr>
          <a:xfrm rot="16200000">
            <a:off x="-650718" y="1647471"/>
            <a:ext cx="6858001" cy="3563071"/>
          </a:xfrm>
          <a:custGeom>
            <a:avLst/>
            <a:gdLst>
              <a:gd name="connsiteX0" fmla="*/ 6858001 w 6858001"/>
              <a:gd name="connsiteY0" fmla="*/ 2673747 h 3563071"/>
              <a:gd name="connsiteX1" fmla="*/ 6858000 w 6858001"/>
              <a:gd name="connsiteY1" fmla="*/ 2894092 h 3563071"/>
              <a:gd name="connsiteX2" fmla="*/ 4091939 w 6858001"/>
              <a:gd name="connsiteY2" fmla="*/ 3463483 h 3563071"/>
              <a:gd name="connsiteX3" fmla="*/ 2756515 w 6858001"/>
              <a:gd name="connsiteY3" fmla="*/ 3451945 h 3563071"/>
              <a:gd name="connsiteX4" fmla="*/ 0 w 6858001"/>
              <a:gd name="connsiteY4" fmla="*/ 2894090 h 3563071"/>
              <a:gd name="connsiteX5" fmla="*/ 0 w 6858001"/>
              <a:gd name="connsiteY5" fmla="*/ 221182 h 3563071"/>
              <a:gd name="connsiteX6" fmla="*/ 0 w 6858001"/>
              <a:gd name="connsiteY6" fmla="*/ 0 h 3563071"/>
              <a:gd name="connsiteX7" fmla="*/ 6 w 6858001"/>
              <a:gd name="connsiteY7" fmla="*/ 0 h 3563071"/>
              <a:gd name="connsiteX8" fmla="*/ 5 w 6858001"/>
              <a:gd name="connsiteY8" fmla="*/ 2673744 h 3563071"/>
              <a:gd name="connsiteX9" fmla="*/ 2756520 w 6858001"/>
              <a:gd name="connsiteY9" fmla="*/ 3231600 h 3563071"/>
              <a:gd name="connsiteX10" fmla="*/ 4091944 w 6858001"/>
              <a:gd name="connsiteY10" fmla="*/ 3243137 h 3563071"/>
              <a:gd name="connsiteX11" fmla="*/ 6858001 w 6858001"/>
              <a:gd name="connsiteY11" fmla="*/ 2673747 h 35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1" h="3563071">
                <a:moveTo>
                  <a:pt x="6858001" y="2673747"/>
                </a:moveTo>
                <a:lnTo>
                  <a:pt x="6858000" y="2894092"/>
                </a:lnTo>
                <a:lnTo>
                  <a:pt x="4091939" y="3463483"/>
                </a:lnTo>
                <a:cubicBezTo>
                  <a:pt x="3445801" y="3604744"/>
                  <a:pt x="3425456" y="3591072"/>
                  <a:pt x="2756515" y="3451945"/>
                </a:cubicBezTo>
                <a:lnTo>
                  <a:pt x="0" y="2894090"/>
                </a:lnTo>
                <a:lnTo>
                  <a:pt x="0" y="221182"/>
                </a:lnTo>
                <a:lnTo>
                  <a:pt x="0" y="0"/>
                </a:lnTo>
                <a:lnTo>
                  <a:pt x="6" y="0"/>
                </a:lnTo>
                <a:lnTo>
                  <a:pt x="5" y="2673744"/>
                </a:lnTo>
                <a:lnTo>
                  <a:pt x="2756520" y="3231600"/>
                </a:lnTo>
                <a:cubicBezTo>
                  <a:pt x="3425461" y="3370727"/>
                  <a:pt x="3445806" y="3384399"/>
                  <a:pt x="4091944" y="3243137"/>
                </a:cubicBezTo>
                <a:lnTo>
                  <a:pt x="6858001" y="2673747"/>
                </a:lnTo>
                <a:close/>
              </a:path>
            </a:pathLst>
          </a:custGeom>
          <a:gradFill flip="none" rotWithShape="1">
            <a:gsLst>
              <a:gs pos="0">
                <a:schemeClr val="accent1">
                  <a:shade val="67500"/>
                  <a:satMod val="115000"/>
                </a:schemeClr>
              </a:gs>
              <a:gs pos="96629">
                <a:srgbClr val="FFC000"/>
              </a:gs>
              <a:gs pos="83000">
                <a:srgbClr val="FF8E0D"/>
              </a:gs>
              <a:gs pos="55000">
                <a:schemeClr val="accent1">
                  <a:shade val="100000"/>
                  <a:satMod val="115000"/>
                </a:schemeClr>
              </a:gs>
            </a:gsLst>
            <a:lin ang="8100000" scaled="1"/>
            <a:tileRect/>
          </a:gradFill>
          <a:ln>
            <a:noFill/>
          </a:ln>
          <a:effectLst/>
        </p:spPr>
        <p:txBody>
          <a:bodyPr wrap="square" lIns="91425" tIns="45700" rIns="91425" bIns="45700" anchor="ctr" anchorCtr="0">
            <a:noAutofit/>
          </a:bodyPr>
          <a:lstStyle/>
          <a:p>
            <a:pPr algn="ctr"/>
            <a:endParaRPr sz="2700" dirty="0">
              <a:solidFill>
                <a:srgbClr val="000000"/>
              </a:solidFill>
              <a:latin typeface="Nunito Light"/>
              <a:ea typeface="Nunito Light"/>
              <a:cs typeface="Nunito Light"/>
              <a:sym typeface="Nunito Light"/>
            </a:endParaRPr>
          </a:p>
        </p:txBody>
      </p:sp>
      <p:sp>
        <p:nvSpPr>
          <p:cNvPr id="82" name="Footer Placeholder 5"/>
          <p:cNvSpPr txBox="1">
            <a:spLocks/>
          </p:cNvSpPr>
          <p:nvPr userDrawn="1"/>
        </p:nvSpPr>
        <p:spPr>
          <a:xfrm>
            <a:off x="5097314" y="6374316"/>
            <a:ext cx="3177303" cy="151588"/>
          </a:xfrm>
          <a:prstGeom prst="rect">
            <a:avLst/>
          </a:prstGeom>
        </p:spPr>
        <p:txBody>
          <a:bodyPr/>
          <a:lstStyle>
            <a:defPPr>
              <a:defRPr lang="en-US"/>
            </a:defPPr>
            <a:lvl1pPr marL="0" algn="l" defTabSz="914400" rtl="0" eaLnBrk="1" latinLnBrk="0" hangingPunct="1">
              <a:defRPr sz="1000" kern="1200">
                <a:solidFill>
                  <a:schemeClr val="tx1">
                    <a:lumMod val="85000"/>
                    <a:lumOff val="1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9D9E9F"/>
                </a:solidFill>
              </a:rPr>
              <a:t>© 2021 Austin Energy</a:t>
            </a:r>
          </a:p>
        </p:txBody>
      </p:sp>
      <p:grpSp>
        <p:nvGrpSpPr>
          <p:cNvPr id="77" name="Group 76">
            <a:extLst>
              <a:ext uri="{FF2B5EF4-FFF2-40B4-BE49-F238E27FC236}">
                <a16:creationId xmlns:a16="http://schemas.microsoft.com/office/drawing/2014/main" id="{56E8D2CF-1403-4F9A-B14C-0A733D86C747}"/>
              </a:ext>
            </a:extLst>
          </p:cNvPr>
          <p:cNvGrpSpPr>
            <a:grpSpLocks noChangeAspect="1"/>
          </p:cNvGrpSpPr>
          <p:nvPr userDrawn="1"/>
        </p:nvGrpSpPr>
        <p:grpSpPr>
          <a:xfrm>
            <a:off x="5167260" y="4552950"/>
            <a:ext cx="3981847" cy="1273424"/>
            <a:chOff x="2509594" y="1483313"/>
            <a:chExt cx="7596974" cy="2429568"/>
          </a:xfrm>
        </p:grpSpPr>
        <p:grpSp>
          <p:nvGrpSpPr>
            <p:cNvPr id="78" name="Group 77">
              <a:extLst>
                <a:ext uri="{FF2B5EF4-FFF2-40B4-BE49-F238E27FC236}">
                  <a16:creationId xmlns:a16="http://schemas.microsoft.com/office/drawing/2014/main" id="{FC8C4054-F47F-48A1-8AED-69AC509CEABD}"/>
                </a:ext>
              </a:extLst>
            </p:cNvPr>
            <p:cNvGrpSpPr/>
            <p:nvPr userDrawn="1"/>
          </p:nvGrpSpPr>
          <p:grpSpPr>
            <a:xfrm>
              <a:off x="6919188" y="1772058"/>
              <a:ext cx="3187380" cy="1836254"/>
              <a:chOff x="6545263" y="1928813"/>
              <a:chExt cx="3494088" cy="2012950"/>
            </a:xfrm>
          </p:grpSpPr>
          <p:sp>
            <p:nvSpPr>
              <p:cNvPr id="84" name="Freeform 6">
                <a:extLst>
                  <a:ext uri="{FF2B5EF4-FFF2-40B4-BE49-F238E27FC236}">
                    <a16:creationId xmlns:a16="http://schemas.microsoft.com/office/drawing/2014/main" id="{5B203EC0-D016-4A6C-A90F-252B18A13FA8}"/>
                  </a:ext>
                </a:extLst>
              </p:cNvPr>
              <p:cNvSpPr>
                <a:spLocks/>
              </p:cNvSpPr>
              <p:nvPr userDrawn="1"/>
            </p:nvSpPr>
            <p:spPr bwMode="auto">
              <a:xfrm>
                <a:off x="6564313" y="1944688"/>
                <a:ext cx="3457575" cy="1979613"/>
              </a:xfrm>
              <a:custGeom>
                <a:avLst/>
                <a:gdLst>
                  <a:gd name="T0" fmla="*/ 662 w 2178"/>
                  <a:gd name="T1" fmla="*/ 0 h 1247"/>
                  <a:gd name="T2" fmla="*/ 670 w 2178"/>
                  <a:gd name="T3" fmla="*/ 2 h 1247"/>
                  <a:gd name="T4" fmla="*/ 1333 w 2178"/>
                  <a:gd name="T5" fmla="*/ 183 h 1247"/>
                  <a:gd name="T6" fmla="*/ 1532 w 2178"/>
                  <a:gd name="T7" fmla="*/ 208 h 1247"/>
                  <a:gd name="T8" fmla="*/ 1713 w 2178"/>
                  <a:gd name="T9" fmla="*/ 247 h 1247"/>
                  <a:gd name="T10" fmla="*/ 1869 w 2178"/>
                  <a:gd name="T11" fmla="*/ 298 h 1247"/>
                  <a:gd name="T12" fmla="*/ 1999 w 2178"/>
                  <a:gd name="T13" fmla="*/ 360 h 1247"/>
                  <a:gd name="T14" fmla="*/ 2095 w 2178"/>
                  <a:gd name="T15" fmla="*/ 429 h 1247"/>
                  <a:gd name="T16" fmla="*/ 2157 w 2178"/>
                  <a:gd name="T17" fmla="*/ 508 h 1247"/>
                  <a:gd name="T18" fmla="*/ 2178 w 2178"/>
                  <a:gd name="T19" fmla="*/ 591 h 1247"/>
                  <a:gd name="T20" fmla="*/ 2160 w 2178"/>
                  <a:gd name="T21" fmla="*/ 667 h 1247"/>
                  <a:gd name="T22" fmla="*/ 2106 w 2178"/>
                  <a:gd name="T23" fmla="*/ 740 h 1247"/>
                  <a:gd name="T24" fmla="*/ 2021 w 2178"/>
                  <a:gd name="T25" fmla="*/ 806 h 1247"/>
                  <a:gd name="T26" fmla="*/ 1908 w 2178"/>
                  <a:gd name="T27" fmla="*/ 865 h 1247"/>
                  <a:gd name="T28" fmla="*/ 1771 w 2178"/>
                  <a:gd name="T29" fmla="*/ 916 h 1247"/>
                  <a:gd name="T30" fmla="*/ 1762 w 2178"/>
                  <a:gd name="T31" fmla="*/ 972 h 1247"/>
                  <a:gd name="T32" fmla="*/ 1588 w 2178"/>
                  <a:gd name="T33" fmla="*/ 1009 h 1247"/>
                  <a:gd name="T34" fmla="*/ 1855 w 2178"/>
                  <a:gd name="T35" fmla="*/ 1202 h 1247"/>
                  <a:gd name="T36" fmla="*/ 1866 w 2178"/>
                  <a:gd name="T37" fmla="*/ 1211 h 1247"/>
                  <a:gd name="T38" fmla="*/ 1869 w 2178"/>
                  <a:gd name="T39" fmla="*/ 1225 h 1247"/>
                  <a:gd name="T40" fmla="*/ 1857 w 2178"/>
                  <a:gd name="T41" fmla="*/ 1244 h 1247"/>
                  <a:gd name="T42" fmla="*/ 1837 w 2178"/>
                  <a:gd name="T43" fmla="*/ 1247 h 1247"/>
                  <a:gd name="T44" fmla="*/ 910 w 2178"/>
                  <a:gd name="T45" fmla="*/ 1002 h 1247"/>
                  <a:gd name="T46" fmla="*/ 710 w 2178"/>
                  <a:gd name="T47" fmla="*/ 982 h 1247"/>
                  <a:gd name="T48" fmla="*/ 529 w 2178"/>
                  <a:gd name="T49" fmla="*/ 948 h 1247"/>
                  <a:gd name="T50" fmla="*/ 367 w 2178"/>
                  <a:gd name="T51" fmla="*/ 902 h 1247"/>
                  <a:gd name="T52" fmla="*/ 230 w 2178"/>
                  <a:gd name="T53" fmla="*/ 847 h 1247"/>
                  <a:gd name="T54" fmla="*/ 121 w 2178"/>
                  <a:gd name="T55" fmla="*/ 782 h 1247"/>
                  <a:gd name="T56" fmla="*/ 46 w 2178"/>
                  <a:gd name="T57" fmla="*/ 710 h 1247"/>
                  <a:gd name="T58" fmla="*/ 7 w 2178"/>
                  <a:gd name="T59" fmla="*/ 631 h 1247"/>
                  <a:gd name="T60" fmla="*/ 5 w 2178"/>
                  <a:gd name="T61" fmla="*/ 551 h 1247"/>
                  <a:gd name="T62" fmla="*/ 40 w 2178"/>
                  <a:gd name="T63" fmla="*/ 478 h 1247"/>
                  <a:gd name="T64" fmla="*/ 108 w 2178"/>
                  <a:gd name="T65" fmla="*/ 410 h 1247"/>
                  <a:gd name="T66" fmla="*/ 204 w 2178"/>
                  <a:gd name="T67" fmla="*/ 347 h 1247"/>
                  <a:gd name="T68" fmla="*/ 327 w 2178"/>
                  <a:gd name="T69" fmla="*/ 292 h 1247"/>
                  <a:gd name="T70" fmla="*/ 318 w 2178"/>
                  <a:gd name="T71" fmla="*/ 240 h 1247"/>
                  <a:gd name="T72" fmla="*/ 484 w 2178"/>
                  <a:gd name="T73" fmla="*/ 195 h 1247"/>
                  <a:gd name="T74" fmla="*/ 192 w 2178"/>
                  <a:gd name="T75" fmla="*/ 41 h 1247"/>
                  <a:gd name="T76" fmla="*/ 183 w 2178"/>
                  <a:gd name="T77" fmla="*/ 33 h 1247"/>
                  <a:gd name="T78" fmla="*/ 180 w 2178"/>
                  <a:gd name="T79" fmla="*/ 21 h 1247"/>
                  <a:gd name="T80" fmla="*/ 183 w 2178"/>
                  <a:gd name="T81" fmla="*/ 9 h 1247"/>
                  <a:gd name="T82" fmla="*/ 194 w 2178"/>
                  <a:gd name="T83" fmla="*/ 2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8" h="1247">
                    <a:moveTo>
                      <a:pt x="201" y="0"/>
                    </a:moveTo>
                    <a:lnTo>
                      <a:pt x="662" y="0"/>
                    </a:lnTo>
                    <a:lnTo>
                      <a:pt x="667" y="2"/>
                    </a:lnTo>
                    <a:lnTo>
                      <a:pt x="670" y="2"/>
                    </a:lnTo>
                    <a:lnTo>
                      <a:pt x="1227" y="177"/>
                    </a:lnTo>
                    <a:lnTo>
                      <a:pt x="1333" y="183"/>
                    </a:lnTo>
                    <a:lnTo>
                      <a:pt x="1435" y="195"/>
                    </a:lnTo>
                    <a:lnTo>
                      <a:pt x="1532" y="208"/>
                    </a:lnTo>
                    <a:lnTo>
                      <a:pt x="1626" y="226"/>
                    </a:lnTo>
                    <a:lnTo>
                      <a:pt x="1713" y="247"/>
                    </a:lnTo>
                    <a:lnTo>
                      <a:pt x="1793" y="271"/>
                    </a:lnTo>
                    <a:lnTo>
                      <a:pt x="1869" y="298"/>
                    </a:lnTo>
                    <a:lnTo>
                      <a:pt x="1937" y="329"/>
                    </a:lnTo>
                    <a:lnTo>
                      <a:pt x="1999" y="360"/>
                    </a:lnTo>
                    <a:lnTo>
                      <a:pt x="2051" y="393"/>
                    </a:lnTo>
                    <a:lnTo>
                      <a:pt x="2095" y="429"/>
                    </a:lnTo>
                    <a:lnTo>
                      <a:pt x="2132" y="469"/>
                    </a:lnTo>
                    <a:lnTo>
                      <a:pt x="2157" y="508"/>
                    </a:lnTo>
                    <a:lnTo>
                      <a:pt x="2172" y="548"/>
                    </a:lnTo>
                    <a:lnTo>
                      <a:pt x="2178" y="591"/>
                    </a:lnTo>
                    <a:lnTo>
                      <a:pt x="2174" y="630"/>
                    </a:lnTo>
                    <a:lnTo>
                      <a:pt x="2160" y="667"/>
                    </a:lnTo>
                    <a:lnTo>
                      <a:pt x="2138" y="704"/>
                    </a:lnTo>
                    <a:lnTo>
                      <a:pt x="2106" y="740"/>
                    </a:lnTo>
                    <a:lnTo>
                      <a:pt x="2068" y="774"/>
                    </a:lnTo>
                    <a:lnTo>
                      <a:pt x="2021" y="806"/>
                    </a:lnTo>
                    <a:lnTo>
                      <a:pt x="1968" y="836"/>
                    </a:lnTo>
                    <a:lnTo>
                      <a:pt x="1908" y="865"/>
                    </a:lnTo>
                    <a:lnTo>
                      <a:pt x="1843" y="892"/>
                    </a:lnTo>
                    <a:lnTo>
                      <a:pt x="1771" y="916"/>
                    </a:lnTo>
                    <a:lnTo>
                      <a:pt x="1694" y="937"/>
                    </a:lnTo>
                    <a:lnTo>
                      <a:pt x="1762" y="972"/>
                    </a:lnTo>
                    <a:lnTo>
                      <a:pt x="1677" y="991"/>
                    </a:lnTo>
                    <a:lnTo>
                      <a:pt x="1588" y="1009"/>
                    </a:lnTo>
                    <a:lnTo>
                      <a:pt x="1494" y="1023"/>
                    </a:lnTo>
                    <a:lnTo>
                      <a:pt x="1855" y="1202"/>
                    </a:lnTo>
                    <a:lnTo>
                      <a:pt x="1861" y="1207"/>
                    </a:lnTo>
                    <a:lnTo>
                      <a:pt x="1866" y="1211"/>
                    </a:lnTo>
                    <a:lnTo>
                      <a:pt x="1869" y="1217"/>
                    </a:lnTo>
                    <a:lnTo>
                      <a:pt x="1869" y="1225"/>
                    </a:lnTo>
                    <a:lnTo>
                      <a:pt x="1866" y="1237"/>
                    </a:lnTo>
                    <a:lnTo>
                      <a:pt x="1857" y="1244"/>
                    </a:lnTo>
                    <a:lnTo>
                      <a:pt x="1845" y="1247"/>
                    </a:lnTo>
                    <a:lnTo>
                      <a:pt x="1837" y="1247"/>
                    </a:lnTo>
                    <a:lnTo>
                      <a:pt x="1014" y="1006"/>
                    </a:lnTo>
                    <a:lnTo>
                      <a:pt x="910" y="1002"/>
                    </a:lnTo>
                    <a:lnTo>
                      <a:pt x="809" y="994"/>
                    </a:lnTo>
                    <a:lnTo>
                      <a:pt x="710" y="982"/>
                    </a:lnTo>
                    <a:lnTo>
                      <a:pt x="617" y="967"/>
                    </a:lnTo>
                    <a:lnTo>
                      <a:pt x="529" y="948"/>
                    </a:lnTo>
                    <a:lnTo>
                      <a:pt x="445" y="926"/>
                    </a:lnTo>
                    <a:lnTo>
                      <a:pt x="367" y="902"/>
                    </a:lnTo>
                    <a:lnTo>
                      <a:pt x="295" y="875"/>
                    </a:lnTo>
                    <a:lnTo>
                      <a:pt x="230" y="847"/>
                    </a:lnTo>
                    <a:lnTo>
                      <a:pt x="173" y="815"/>
                    </a:lnTo>
                    <a:lnTo>
                      <a:pt x="121" y="782"/>
                    </a:lnTo>
                    <a:lnTo>
                      <a:pt x="79" y="747"/>
                    </a:lnTo>
                    <a:lnTo>
                      <a:pt x="46" y="710"/>
                    </a:lnTo>
                    <a:lnTo>
                      <a:pt x="22" y="670"/>
                    </a:lnTo>
                    <a:lnTo>
                      <a:pt x="7" y="631"/>
                    </a:lnTo>
                    <a:lnTo>
                      <a:pt x="0" y="591"/>
                    </a:lnTo>
                    <a:lnTo>
                      <a:pt x="5" y="551"/>
                    </a:lnTo>
                    <a:lnTo>
                      <a:pt x="19" y="514"/>
                    </a:lnTo>
                    <a:lnTo>
                      <a:pt x="40" y="478"/>
                    </a:lnTo>
                    <a:lnTo>
                      <a:pt x="70" y="443"/>
                    </a:lnTo>
                    <a:lnTo>
                      <a:pt x="108" y="410"/>
                    </a:lnTo>
                    <a:lnTo>
                      <a:pt x="153" y="377"/>
                    </a:lnTo>
                    <a:lnTo>
                      <a:pt x="204" y="347"/>
                    </a:lnTo>
                    <a:lnTo>
                      <a:pt x="263" y="318"/>
                    </a:lnTo>
                    <a:lnTo>
                      <a:pt x="327" y="292"/>
                    </a:lnTo>
                    <a:lnTo>
                      <a:pt x="398" y="268"/>
                    </a:lnTo>
                    <a:lnTo>
                      <a:pt x="318" y="240"/>
                    </a:lnTo>
                    <a:lnTo>
                      <a:pt x="398" y="216"/>
                    </a:lnTo>
                    <a:lnTo>
                      <a:pt x="484" y="195"/>
                    </a:lnTo>
                    <a:lnTo>
                      <a:pt x="573" y="177"/>
                    </a:lnTo>
                    <a:lnTo>
                      <a:pt x="192" y="41"/>
                    </a:lnTo>
                    <a:lnTo>
                      <a:pt x="188" y="38"/>
                    </a:lnTo>
                    <a:lnTo>
                      <a:pt x="183" y="33"/>
                    </a:lnTo>
                    <a:lnTo>
                      <a:pt x="180" y="29"/>
                    </a:lnTo>
                    <a:lnTo>
                      <a:pt x="180" y="21"/>
                    </a:lnTo>
                    <a:lnTo>
                      <a:pt x="180" y="15"/>
                    </a:lnTo>
                    <a:lnTo>
                      <a:pt x="183" y="9"/>
                    </a:lnTo>
                    <a:lnTo>
                      <a:pt x="188" y="5"/>
                    </a:lnTo>
                    <a:lnTo>
                      <a:pt x="194" y="2"/>
                    </a:lnTo>
                    <a:lnTo>
                      <a:pt x="2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7">
                <a:extLst>
                  <a:ext uri="{FF2B5EF4-FFF2-40B4-BE49-F238E27FC236}">
                    <a16:creationId xmlns:a16="http://schemas.microsoft.com/office/drawing/2014/main" id="{FFECB028-685B-4D7F-B1B9-FF054C8F1B17}"/>
                  </a:ext>
                </a:extLst>
              </p:cNvPr>
              <p:cNvSpPr>
                <a:spLocks/>
              </p:cNvSpPr>
              <p:nvPr userDrawn="1"/>
            </p:nvSpPr>
            <p:spPr bwMode="auto">
              <a:xfrm>
                <a:off x="6702425" y="2349500"/>
                <a:ext cx="3190875" cy="1060450"/>
              </a:xfrm>
              <a:custGeom>
                <a:avLst/>
                <a:gdLst>
                  <a:gd name="T0" fmla="*/ 1107 w 2010"/>
                  <a:gd name="T1" fmla="*/ 1 h 668"/>
                  <a:gd name="T2" fmla="*/ 1303 w 2010"/>
                  <a:gd name="T3" fmla="*/ 15 h 668"/>
                  <a:gd name="T4" fmla="*/ 1484 w 2010"/>
                  <a:gd name="T5" fmla="*/ 40 h 668"/>
                  <a:gd name="T6" fmla="*/ 1644 w 2010"/>
                  <a:gd name="T7" fmla="*/ 77 h 668"/>
                  <a:gd name="T8" fmla="*/ 1780 w 2010"/>
                  <a:gd name="T9" fmla="*/ 122 h 668"/>
                  <a:gd name="T10" fmla="*/ 1887 w 2010"/>
                  <a:gd name="T11" fmla="*/ 174 h 668"/>
                  <a:gd name="T12" fmla="*/ 1964 w 2010"/>
                  <a:gd name="T13" fmla="*/ 235 h 668"/>
                  <a:gd name="T14" fmla="*/ 2004 w 2010"/>
                  <a:gd name="T15" fmla="*/ 299 h 668"/>
                  <a:gd name="T16" fmla="*/ 2005 w 2010"/>
                  <a:gd name="T17" fmla="*/ 364 h 668"/>
                  <a:gd name="T18" fmla="*/ 1975 w 2010"/>
                  <a:gd name="T19" fmla="*/ 421 h 668"/>
                  <a:gd name="T20" fmla="*/ 1903 w 2010"/>
                  <a:gd name="T21" fmla="*/ 477 h 668"/>
                  <a:gd name="T22" fmla="*/ 1798 w 2010"/>
                  <a:gd name="T23" fmla="*/ 522 h 668"/>
                  <a:gd name="T24" fmla="*/ 1665 w 2010"/>
                  <a:gd name="T25" fmla="*/ 557 h 668"/>
                  <a:gd name="T26" fmla="*/ 1507 w 2010"/>
                  <a:gd name="T27" fmla="*/ 580 h 668"/>
                  <a:gd name="T28" fmla="*/ 1498 w 2010"/>
                  <a:gd name="T29" fmla="*/ 625 h 668"/>
                  <a:gd name="T30" fmla="*/ 1314 w 2010"/>
                  <a:gd name="T31" fmla="*/ 652 h 668"/>
                  <a:gd name="T32" fmla="*/ 1111 w 2010"/>
                  <a:gd name="T33" fmla="*/ 667 h 668"/>
                  <a:gd name="T34" fmla="*/ 901 w 2010"/>
                  <a:gd name="T35" fmla="*/ 667 h 668"/>
                  <a:gd name="T36" fmla="*/ 705 w 2010"/>
                  <a:gd name="T37" fmla="*/ 653 h 668"/>
                  <a:gd name="T38" fmla="*/ 525 w 2010"/>
                  <a:gd name="T39" fmla="*/ 628 h 668"/>
                  <a:gd name="T40" fmla="*/ 365 w 2010"/>
                  <a:gd name="T41" fmla="*/ 592 h 668"/>
                  <a:gd name="T42" fmla="*/ 229 w 2010"/>
                  <a:gd name="T43" fmla="*/ 546 h 668"/>
                  <a:gd name="T44" fmla="*/ 120 w 2010"/>
                  <a:gd name="T45" fmla="*/ 494 h 668"/>
                  <a:gd name="T46" fmla="*/ 45 w 2010"/>
                  <a:gd name="T47" fmla="*/ 434 h 668"/>
                  <a:gd name="T48" fmla="*/ 4 w 2010"/>
                  <a:gd name="T49" fmla="*/ 369 h 668"/>
                  <a:gd name="T50" fmla="*/ 3 w 2010"/>
                  <a:gd name="T51" fmla="*/ 304 h 668"/>
                  <a:gd name="T52" fmla="*/ 33 w 2010"/>
                  <a:gd name="T53" fmla="*/ 248 h 668"/>
                  <a:gd name="T54" fmla="*/ 93 w 2010"/>
                  <a:gd name="T55" fmla="*/ 196 h 668"/>
                  <a:gd name="T56" fmla="*/ 185 w 2010"/>
                  <a:gd name="T57" fmla="*/ 152 h 668"/>
                  <a:gd name="T58" fmla="*/ 302 w 2010"/>
                  <a:gd name="T59" fmla="*/ 117 h 668"/>
                  <a:gd name="T60" fmla="*/ 439 w 2010"/>
                  <a:gd name="T61" fmla="*/ 93 h 668"/>
                  <a:gd name="T62" fmla="*/ 441 w 2010"/>
                  <a:gd name="T63" fmla="*/ 57 h 668"/>
                  <a:gd name="T64" fmla="*/ 649 w 2010"/>
                  <a:gd name="T65" fmla="*/ 21 h 668"/>
                  <a:gd name="T66" fmla="*/ 882 w 2010"/>
                  <a:gd name="T67" fmla="*/ 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10" h="668">
                    <a:moveTo>
                      <a:pt x="1004" y="0"/>
                    </a:moveTo>
                    <a:lnTo>
                      <a:pt x="1107" y="1"/>
                    </a:lnTo>
                    <a:lnTo>
                      <a:pt x="1206" y="7"/>
                    </a:lnTo>
                    <a:lnTo>
                      <a:pt x="1303" y="15"/>
                    </a:lnTo>
                    <a:lnTo>
                      <a:pt x="1395" y="27"/>
                    </a:lnTo>
                    <a:lnTo>
                      <a:pt x="1484" y="40"/>
                    </a:lnTo>
                    <a:lnTo>
                      <a:pt x="1566" y="57"/>
                    </a:lnTo>
                    <a:lnTo>
                      <a:pt x="1644" y="77"/>
                    </a:lnTo>
                    <a:lnTo>
                      <a:pt x="1715" y="98"/>
                    </a:lnTo>
                    <a:lnTo>
                      <a:pt x="1780" y="122"/>
                    </a:lnTo>
                    <a:lnTo>
                      <a:pt x="1838" y="147"/>
                    </a:lnTo>
                    <a:lnTo>
                      <a:pt x="1887" y="174"/>
                    </a:lnTo>
                    <a:lnTo>
                      <a:pt x="1931" y="205"/>
                    </a:lnTo>
                    <a:lnTo>
                      <a:pt x="1964" y="235"/>
                    </a:lnTo>
                    <a:lnTo>
                      <a:pt x="1989" y="266"/>
                    </a:lnTo>
                    <a:lnTo>
                      <a:pt x="2004" y="299"/>
                    </a:lnTo>
                    <a:lnTo>
                      <a:pt x="2010" y="334"/>
                    </a:lnTo>
                    <a:lnTo>
                      <a:pt x="2005" y="364"/>
                    </a:lnTo>
                    <a:lnTo>
                      <a:pt x="1993" y="393"/>
                    </a:lnTo>
                    <a:lnTo>
                      <a:pt x="1975" y="421"/>
                    </a:lnTo>
                    <a:lnTo>
                      <a:pt x="1943" y="450"/>
                    </a:lnTo>
                    <a:lnTo>
                      <a:pt x="1903" y="477"/>
                    </a:lnTo>
                    <a:lnTo>
                      <a:pt x="1854" y="501"/>
                    </a:lnTo>
                    <a:lnTo>
                      <a:pt x="1798" y="522"/>
                    </a:lnTo>
                    <a:lnTo>
                      <a:pt x="1735" y="540"/>
                    </a:lnTo>
                    <a:lnTo>
                      <a:pt x="1665" y="557"/>
                    </a:lnTo>
                    <a:lnTo>
                      <a:pt x="1588" y="571"/>
                    </a:lnTo>
                    <a:lnTo>
                      <a:pt x="1507" y="580"/>
                    </a:lnTo>
                    <a:lnTo>
                      <a:pt x="1419" y="587"/>
                    </a:lnTo>
                    <a:lnTo>
                      <a:pt x="1498" y="625"/>
                    </a:lnTo>
                    <a:lnTo>
                      <a:pt x="1409" y="640"/>
                    </a:lnTo>
                    <a:lnTo>
                      <a:pt x="1314" y="652"/>
                    </a:lnTo>
                    <a:lnTo>
                      <a:pt x="1214" y="661"/>
                    </a:lnTo>
                    <a:lnTo>
                      <a:pt x="1111" y="667"/>
                    </a:lnTo>
                    <a:lnTo>
                      <a:pt x="1004" y="668"/>
                    </a:lnTo>
                    <a:lnTo>
                      <a:pt x="901" y="667"/>
                    </a:lnTo>
                    <a:lnTo>
                      <a:pt x="802" y="661"/>
                    </a:lnTo>
                    <a:lnTo>
                      <a:pt x="705" y="653"/>
                    </a:lnTo>
                    <a:lnTo>
                      <a:pt x="613" y="641"/>
                    </a:lnTo>
                    <a:lnTo>
                      <a:pt x="525" y="628"/>
                    </a:lnTo>
                    <a:lnTo>
                      <a:pt x="442" y="611"/>
                    </a:lnTo>
                    <a:lnTo>
                      <a:pt x="365" y="592"/>
                    </a:lnTo>
                    <a:lnTo>
                      <a:pt x="294" y="571"/>
                    </a:lnTo>
                    <a:lnTo>
                      <a:pt x="229" y="546"/>
                    </a:lnTo>
                    <a:lnTo>
                      <a:pt x="170" y="521"/>
                    </a:lnTo>
                    <a:lnTo>
                      <a:pt x="120" y="494"/>
                    </a:lnTo>
                    <a:lnTo>
                      <a:pt x="78" y="464"/>
                    </a:lnTo>
                    <a:lnTo>
                      <a:pt x="45" y="434"/>
                    </a:lnTo>
                    <a:lnTo>
                      <a:pt x="19" y="402"/>
                    </a:lnTo>
                    <a:lnTo>
                      <a:pt x="4" y="369"/>
                    </a:lnTo>
                    <a:lnTo>
                      <a:pt x="0" y="334"/>
                    </a:lnTo>
                    <a:lnTo>
                      <a:pt x="3" y="304"/>
                    </a:lnTo>
                    <a:lnTo>
                      <a:pt x="15" y="275"/>
                    </a:lnTo>
                    <a:lnTo>
                      <a:pt x="33" y="248"/>
                    </a:lnTo>
                    <a:lnTo>
                      <a:pt x="58" y="221"/>
                    </a:lnTo>
                    <a:lnTo>
                      <a:pt x="93" y="196"/>
                    </a:lnTo>
                    <a:lnTo>
                      <a:pt x="136" y="173"/>
                    </a:lnTo>
                    <a:lnTo>
                      <a:pt x="185" y="152"/>
                    </a:lnTo>
                    <a:lnTo>
                      <a:pt x="240" y="134"/>
                    </a:lnTo>
                    <a:lnTo>
                      <a:pt x="302" y="117"/>
                    </a:lnTo>
                    <a:lnTo>
                      <a:pt x="368" y="104"/>
                    </a:lnTo>
                    <a:lnTo>
                      <a:pt x="439" y="93"/>
                    </a:lnTo>
                    <a:lnTo>
                      <a:pt x="516" y="84"/>
                    </a:lnTo>
                    <a:lnTo>
                      <a:pt x="441" y="57"/>
                    </a:lnTo>
                    <a:lnTo>
                      <a:pt x="542" y="37"/>
                    </a:lnTo>
                    <a:lnTo>
                      <a:pt x="649" y="21"/>
                    </a:lnTo>
                    <a:lnTo>
                      <a:pt x="762" y="10"/>
                    </a:lnTo>
                    <a:lnTo>
                      <a:pt x="882" y="3"/>
                    </a:lnTo>
                    <a:lnTo>
                      <a:pt x="100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8">
                <a:extLst>
                  <a:ext uri="{FF2B5EF4-FFF2-40B4-BE49-F238E27FC236}">
                    <a16:creationId xmlns:a16="http://schemas.microsoft.com/office/drawing/2014/main" id="{40709C1A-D6A4-4EC0-B6BA-FA4E7B5F665A}"/>
                  </a:ext>
                </a:extLst>
              </p:cNvPr>
              <p:cNvSpPr>
                <a:spLocks/>
              </p:cNvSpPr>
              <p:nvPr userDrawn="1"/>
            </p:nvSpPr>
            <p:spPr bwMode="auto">
              <a:xfrm>
                <a:off x="7127875" y="2951163"/>
                <a:ext cx="312738" cy="222250"/>
              </a:xfrm>
              <a:custGeom>
                <a:avLst/>
                <a:gdLst>
                  <a:gd name="T0" fmla="*/ 28 w 197"/>
                  <a:gd name="T1" fmla="*/ 0 h 140"/>
                  <a:gd name="T2" fmla="*/ 197 w 197"/>
                  <a:gd name="T3" fmla="*/ 0 h 140"/>
                  <a:gd name="T4" fmla="*/ 197 w 197"/>
                  <a:gd name="T5" fmla="*/ 45 h 140"/>
                  <a:gd name="T6" fmla="*/ 156 w 197"/>
                  <a:gd name="T7" fmla="*/ 45 h 140"/>
                  <a:gd name="T8" fmla="*/ 156 w 197"/>
                  <a:gd name="T9" fmla="*/ 24 h 140"/>
                  <a:gd name="T10" fmla="*/ 68 w 197"/>
                  <a:gd name="T11" fmla="*/ 24 h 140"/>
                  <a:gd name="T12" fmla="*/ 68 w 197"/>
                  <a:gd name="T13" fmla="*/ 56 h 140"/>
                  <a:gd name="T14" fmla="*/ 159 w 197"/>
                  <a:gd name="T15" fmla="*/ 56 h 140"/>
                  <a:gd name="T16" fmla="*/ 159 w 197"/>
                  <a:gd name="T17" fmla="*/ 80 h 140"/>
                  <a:gd name="T18" fmla="*/ 68 w 197"/>
                  <a:gd name="T19" fmla="*/ 80 h 140"/>
                  <a:gd name="T20" fmla="*/ 68 w 197"/>
                  <a:gd name="T21" fmla="*/ 115 h 140"/>
                  <a:gd name="T22" fmla="*/ 156 w 197"/>
                  <a:gd name="T23" fmla="*/ 115 h 140"/>
                  <a:gd name="T24" fmla="*/ 156 w 197"/>
                  <a:gd name="T25" fmla="*/ 95 h 140"/>
                  <a:gd name="T26" fmla="*/ 197 w 197"/>
                  <a:gd name="T27" fmla="*/ 95 h 140"/>
                  <a:gd name="T28" fmla="*/ 197 w 197"/>
                  <a:gd name="T29" fmla="*/ 140 h 140"/>
                  <a:gd name="T30" fmla="*/ 28 w 197"/>
                  <a:gd name="T31" fmla="*/ 140 h 140"/>
                  <a:gd name="T32" fmla="*/ 28 w 197"/>
                  <a:gd name="T33" fmla="*/ 80 h 140"/>
                  <a:gd name="T34" fmla="*/ 0 w 197"/>
                  <a:gd name="T35" fmla="*/ 80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4"/>
                    </a:lnTo>
                    <a:lnTo>
                      <a:pt x="68" y="24"/>
                    </a:lnTo>
                    <a:lnTo>
                      <a:pt x="68" y="56"/>
                    </a:lnTo>
                    <a:lnTo>
                      <a:pt x="159" y="56"/>
                    </a:lnTo>
                    <a:lnTo>
                      <a:pt x="159" y="80"/>
                    </a:lnTo>
                    <a:lnTo>
                      <a:pt x="68" y="80"/>
                    </a:lnTo>
                    <a:lnTo>
                      <a:pt x="68" y="115"/>
                    </a:lnTo>
                    <a:lnTo>
                      <a:pt x="156" y="115"/>
                    </a:lnTo>
                    <a:lnTo>
                      <a:pt x="156" y="95"/>
                    </a:lnTo>
                    <a:lnTo>
                      <a:pt x="197" y="95"/>
                    </a:lnTo>
                    <a:lnTo>
                      <a:pt x="197" y="140"/>
                    </a:lnTo>
                    <a:lnTo>
                      <a:pt x="28" y="140"/>
                    </a:lnTo>
                    <a:lnTo>
                      <a:pt x="28" y="80"/>
                    </a:lnTo>
                    <a:lnTo>
                      <a:pt x="0" y="80"/>
                    </a:lnTo>
                    <a:lnTo>
                      <a:pt x="0" y="56"/>
                    </a:lnTo>
                    <a:lnTo>
                      <a:pt x="28" y="56"/>
                    </a:lnTo>
                    <a:lnTo>
                      <a:pt x="28"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9">
                <a:extLst>
                  <a:ext uri="{FF2B5EF4-FFF2-40B4-BE49-F238E27FC236}">
                    <a16:creationId xmlns:a16="http://schemas.microsoft.com/office/drawing/2014/main" id="{A4693739-2505-4E46-8A83-06986F3AB3D1}"/>
                  </a:ext>
                </a:extLst>
              </p:cNvPr>
              <p:cNvSpPr>
                <a:spLocks/>
              </p:cNvSpPr>
              <p:nvPr userDrawn="1"/>
            </p:nvSpPr>
            <p:spPr bwMode="auto">
              <a:xfrm>
                <a:off x="7564438" y="2946400"/>
                <a:ext cx="293688" cy="231775"/>
              </a:xfrm>
              <a:custGeom>
                <a:avLst/>
                <a:gdLst>
                  <a:gd name="T0" fmla="*/ 0 w 185"/>
                  <a:gd name="T1" fmla="*/ 0 h 146"/>
                  <a:gd name="T2" fmla="*/ 144 w 185"/>
                  <a:gd name="T3" fmla="*/ 89 h 146"/>
                  <a:gd name="T4" fmla="*/ 144 w 185"/>
                  <a:gd name="T5" fmla="*/ 3 h 146"/>
                  <a:gd name="T6" fmla="*/ 185 w 185"/>
                  <a:gd name="T7" fmla="*/ 3 h 146"/>
                  <a:gd name="T8" fmla="*/ 185 w 185"/>
                  <a:gd name="T9" fmla="*/ 146 h 146"/>
                  <a:gd name="T10" fmla="*/ 41 w 185"/>
                  <a:gd name="T11" fmla="*/ 58 h 146"/>
                  <a:gd name="T12" fmla="*/ 41 w 185"/>
                  <a:gd name="T13" fmla="*/ 143 h 146"/>
                  <a:gd name="T14" fmla="*/ 0 w 185"/>
                  <a:gd name="T15" fmla="*/ 143 h 146"/>
                  <a:gd name="T16" fmla="*/ 0 w 185"/>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46">
                    <a:moveTo>
                      <a:pt x="0" y="0"/>
                    </a:moveTo>
                    <a:lnTo>
                      <a:pt x="144" y="89"/>
                    </a:lnTo>
                    <a:lnTo>
                      <a:pt x="144" y="3"/>
                    </a:lnTo>
                    <a:lnTo>
                      <a:pt x="185" y="3"/>
                    </a:lnTo>
                    <a:lnTo>
                      <a:pt x="185" y="146"/>
                    </a:lnTo>
                    <a:lnTo>
                      <a:pt x="41" y="58"/>
                    </a:lnTo>
                    <a:lnTo>
                      <a:pt x="41" y="143"/>
                    </a:lnTo>
                    <a:lnTo>
                      <a:pt x="0" y="14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0">
                <a:extLst>
                  <a:ext uri="{FF2B5EF4-FFF2-40B4-BE49-F238E27FC236}">
                    <a16:creationId xmlns:a16="http://schemas.microsoft.com/office/drawing/2014/main" id="{8B1653D8-8349-49FA-BB19-C0893F250FB3}"/>
                  </a:ext>
                </a:extLst>
              </p:cNvPr>
              <p:cNvSpPr>
                <a:spLocks/>
              </p:cNvSpPr>
              <p:nvPr userDrawn="1"/>
            </p:nvSpPr>
            <p:spPr bwMode="auto">
              <a:xfrm>
                <a:off x="7959725" y="2951163"/>
                <a:ext cx="312738" cy="222250"/>
              </a:xfrm>
              <a:custGeom>
                <a:avLst/>
                <a:gdLst>
                  <a:gd name="T0" fmla="*/ 26 w 197"/>
                  <a:gd name="T1" fmla="*/ 0 h 140"/>
                  <a:gd name="T2" fmla="*/ 197 w 197"/>
                  <a:gd name="T3" fmla="*/ 0 h 140"/>
                  <a:gd name="T4" fmla="*/ 197 w 197"/>
                  <a:gd name="T5" fmla="*/ 45 h 140"/>
                  <a:gd name="T6" fmla="*/ 155 w 197"/>
                  <a:gd name="T7" fmla="*/ 45 h 140"/>
                  <a:gd name="T8" fmla="*/ 155 w 197"/>
                  <a:gd name="T9" fmla="*/ 24 h 140"/>
                  <a:gd name="T10" fmla="*/ 68 w 197"/>
                  <a:gd name="T11" fmla="*/ 24 h 140"/>
                  <a:gd name="T12" fmla="*/ 68 w 197"/>
                  <a:gd name="T13" fmla="*/ 56 h 140"/>
                  <a:gd name="T14" fmla="*/ 158 w 197"/>
                  <a:gd name="T15" fmla="*/ 56 h 140"/>
                  <a:gd name="T16" fmla="*/ 158 w 197"/>
                  <a:gd name="T17" fmla="*/ 80 h 140"/>
                  <a:gd name="T18" fmla="*/ 68 w 197"/>
                  <a:gd name="T19" fmla="*/ 80 h 140"/>
                  <a:gd name="T20" fmla="*/ 68 w 197"/>
                  <a:gd name="T21" fmla="*/ 115 h 140"/>
                  <a:gd name="T22" fmla="*/ 155 w 197"/>
                  <a:gd name="T23" fmla="*/ 115 h 140"/>
                  <a:gd name="T24" fmla="*/ 155 w 197"/>
                  <a:gd name="T25" fmla="*/ 95 h 140"/>
                  <a:gd name="T26" fmla="*/ 197 w 197"/>
                  <a:gd name="T27" fmla="*/ 95 h 140"/>
                  <a:gd name="T28" fmla="*/ 197 w 197"/>
                  <a:gd name="T29" fmla="*/ 140 h 140"/>
                  <a:gd name="T30" fmla="*/ 26 w 197"/>
                  <a:gd name="T31" fmla="*/ 140 h 140"/>
                  <a:gd name="T32" fmla="*/ 26 w 197"/>
                  <a:gd name="T33" fmla="*/ 80 h 140"/>
                  <a:gd name="T34" fmla="*/ 0 w 197"/>
                  <a:gd name="T35" fmla="*/ 80 h 140"/>
                  <a:gd name="T36" fmla="*/ 0 w 197"/>
                  <a:gd name="T37" fmla="*/ 56 h 140"/>
                  <a:gd name="T38" fmla="*/ 26 w 197"/>
                  <a:gd name="T39" fmla="*/ 56 h 140"/>
                  <a:gd name="T40" fmla="*/ 26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6" y="0"/>
                    </a:moveTo>
                    <a:lnTo>
                      <a:pt x="197" y="0"/>
                    </a:lnTo>
                    <a:lnTo>
                      <a:pt x="197" y="45"/>
                    </a:lnTo>
                    <a:lnTo>
                      <a:pt x="155" y="45"/>
                    </a:lnTo>
                    <a:lnTo>
                      <a:pt x="155" y="24"/>
                    </a:lnTo>
                    <a:lnTo>
                      <a:pt x="68" y="24"/>
                    </a:lnTo>
                    <a:lnTo>
                      <a:pt x="68" y="56"/>
                    </a:lnTo>
                    <a:lnTo>
                      <a:pt x="158" y="56"/>
                    </a:lnTo>
                    <a:lnTo>
                      <a:pt x="158" y="80"/>
                    </a:lnTo>
                    <a:lnTo>
                      <a:pt x="68" y="80"/>
                    </a:lnTo>
                    <a:lnTo>
                      <a:pt x="68" y="115"/>
                    </a:lnTo>
                    <a:lnTo>
                      <a:pt x="155" y="115"/>
                    </a:lnTo>
                    <a:lnTo>
                      <a:pt x="155" y="95"/>
                    </a:lnTo>
                    <a:lnTo>
                      <a:pt x="197" y="95"/>
                    </a:lnTo>
                    <a:lnTo>
                      <a:pt x="197" y="140"/>
                    </a:lnTo>
                    <a:lnTo>
                      <a:pt x="26" y="140"/>
                    </a:lnTo>
                    <a:lnTo>
                      <a:pt x="26" y="80"/>
                    </a:lnTo>
                    <a:lnTo>
                      <a:pt x="0" y="80"/>
                    </a:lnTo>
                    <a:lnTo>
                      <a:pt x="0" y="56"/>
                    </a:lnTo>
                    <a:lnTo>
                      <a:pt x="26" y="56"/>
                    </a:lnTo>
                    <a:lnTo>
                      <a:pt x="26"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11">
                <a:extLst>
                  <a:ext uri="{FF2B5EF4-FFF2-40B4-BE49-F238E27FC236}">
                    <a16:creationId xmlns:a16="http://schemas.microsoft.com/office/drawing/2014/main" id="{CD22640B-FADE-425B-8043-2FC9115EE039}"/>
                  </a:ext>
                </a:extLst>
              </p:cNvPr>
              <p:cNvSpPr>
                <a:spLocks noEditPoints="1"/>
              </p:cNvSpPr>
              <p:nvPr userDrawn="1"/>
            </p:nvSpPr>
            <p:spPr bwMode="auto">
              <a:xfrm>
                <a:off x="8362950" y="2951163"/>
                <a:ext cx="338138" cy="222250"/>
              </a:xfrm>
              <a:custGeom>
                <a:avLst/>
                <a:gdLst>
                  <a:gd name="T0" fmla="*/ 68 w 213"/>
                  <a:gd name="T1" fmla="*/ 24 h 140"/>
                  <a:gd name="T2" fmla="*/ 68 w 213"/>
                  <a:gd name="T3" fmla="*/ 56 h 140"/>
                  <a:gd name="T4" fmla="*/ 141 w 213"/>
                  <a:gd name="T5" fmla="*/ 56 h 140"/>
                  <a:gd name="T6" fmla="*/ 154 w 213"/>
                  <a:gd name="T7" fmla="*/ 55 h 140"/>
                  <a:gd name="T8" fmla="*/ 163 w 213"/>
                  <a:gd name="T9" fmla="*/ 51 h 140"/>
                  <a:gd name="T10" fmla="*/ 168 w 213"/>
                  <a:gd name="T11" fmla="*/ 45 h 140"/>
                  <a:gd name="T12" fmla="*/ 169 w 213"/>
                  <a:gd name="T13" fmla="*/ 41 h 140"/>
                  <a:gd name="T14" fmla="*/ 168 w 213"/>
                  <a:gd name="T15" fmla="*/ 35 h 140"/>
                  <a:gd name="T16" fmla="*/ 163 w 213"/>
                  <a:gd name="T17" fmla="*/ 30 h 140"/>
                  <a:gd name="T18" fmla="*/ 154 w 213"/>
                  <a:gd name="T19" fmla="*/ 26 h 140"/>
                  <a:gd name="T20" fmla="*/ 141 w 213"/>
                  <a:gd name="T21" fmla="*/ 24 h 140"/>
                  <a:gd name="T22" fmla="*/ 68 w 213"/>
                  <a:gd name="T23" fmla="*/ 24 h 140"/>
                  <a:gd name="T24" fmla="*/ 27 w 213"/>
                  <a:gd name="T25" fmla="*/ 0 h 140"/>
                  <a:gd name="T26" fmla="*/ 138 w 213"/>
                  <a:gd name="T27" fmla="*/ 0 h 140"/>
                  <a:gd name="T28" fmla="*/ 163 w 213"/>
                  <a:gd name="T29" fmla="*/ 2 h 140"/>
                  <a:gd name="T30" fmla="*/ 184 w 213"/>
                  <a:gd name="T31" fmla="*/ 8 h 140"/>
                  <a:gd name="T32" fmla="*/ 198 w 213"/>
                  <a:gd name="T33" fmla="*/ 15 h 140"/>
                  <a:gd name="T34" fmla="*/ 207 w 213"/>
                  <a:gd name="T35" fmla="*/ 27 h 140"/>
                  <a:gd name="T36" fmla="*/ 210 w 213"/>
                  <a:gd name="T37" fmla="*/ 41 h 140"/>
                  <a:gd name="T38" fmla="*/ 209 w 213"/>
                  <a:gd name="T39" fmla="*/ 51 h 140"/>
                  <a:gd name="T40" fmla="*/ 203 w 213"/>
                  <a:gd name="T41" fmla="*/ 62 h 140"/>
                  <a:gd name="T42" fmla="*/ 192 w 213"/>
                  <a:gd name="T43" fmla="*/ 70 h 140"/>
                  <a:gd name="T44" fmla="*/ 175 w 213"/>
                  <a:gd name="T45" fmla="*/ 76 h 140"/>
                  <a:gd name="T46" fmla="*/ 154 w 213"/>
                  <a:gd name="T47" fmla="*/ 80 h 140"/>
                  <a:gd name="T48" fmla="*/ 213 w 213"/>
                  <a:gd name="T49" fmla="*/ 140 h 140"/>
                  <a:gd name="T50" fmla="*/ 165 w 213"/>
                  <a:gd name="T51" fmla="*/ 140 h 140"/>
                  <a:gd name="T52" fmla="*/ 109 w 213"/>
                  <a:gd name="T53" fmla="*/ 80 h 140"/>
                  <a:gd name="T54" fmla="*/ 68 w 213"/>
                  <a:gd name="T55" fmla="*/ 80 h 140"/>
                  <a:gd name="T56" fmla="*/ 68 w 213"/>
                  <a:gd name="T57" fmla="*/ 140 h 140"/>
                  <a:gd name="T58" fmla="*/ 27 w 213"/>
                  <a:gd name="T59" fmla="*/ 140 h 140"/>
                  <a:gd name="T60" fmla="*/ 27 w 213"/>
                  <a:gd name="T61" fmla="*/ 80 h 140"/>
                  <a:gd name="T62" fmla="*/ 0 w 213"/>
                  <a:gd name="T63" fmla="*/ 80 h 140"/>
                  <a:gd name="T64" fmla="*/ 0 w 213"/>
                  <a:gd name="T65" fmla="*/ 56 h 140"/>
                  <a:gd name="T66" fmla="*/ 27 w 213"/>
                  <a:gd name="T67" fmla="*/ 56 h 140"/>
                  <a:gd name="T68" fmla="*/ 27 w 213"/>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40">
                    <a:moveTo>
                      <a:pt x="68" y="24"/>
                    </a:moveTo>
                    <a:lnTo>
                      <a:pt x="68" y="56"/>
                    </a:lnTo>
                    <a:lnTo>
                      <a:pt x="141" y="56"/>
                    </a:lnTo>
                    <a:lnTo>
                      <a:pt x="154" y="55"/>
                    </a:lnTo>
                    <a:lnTo>
                      <a:pt x="163" y="51"/>
                    </a:lnTo>
                    <a:lnTo>
                      <a:pt x="168" y="45"/>
                    </a:lnTo>
                    <a:lnTo>
                      <a:pt x="169" y="41"/>
                    </a:lnTo>
                    <a:lnTo>
                      <a:pt x="168" y="35"/>
                    </a:lnTo>
                    <a:lnTo>
                      <a:pt x="163" y="30"/>
                    </a:lnTo>
                    <a:lnTo>
                      <a:pt x="154" y="26"/>
                    </a:lnTo>
                    <a:lnTo>
                      <a:pt x="141" y="24"/>
                    </a:lnTo>
                    <a:lnTo>
                      <a:pt x="68" y="24"/>
                    </a:lnTo>
                    <a:close/>
                    <a:moveTo>
                      <a:pt x="27" y="0"/>
                    </a:moveTo>
                    <a:lnTo>
                      <a:pt x="138" y="0"/>
                    </a:lnTo>
                    <a:lnTo>
                      <a:pt x="163" y="2"/>
                    </a:lnTo>
                    <a:lnTo>
                      <a:pt x="184" y="8"/>
                    </a:lnTo>
                    <a:lnTo>
                      <a:pt x="198" y="15"/>
                    </a:lnTo>
                    <a:lnTo>
                      <a:pt x="207" y="27"/>
                    </a:lnTo>
                    <a:lnTo>
                      <a:pt x="210" y="41"/>
                    </a:lnTo>
                    <a:lnTo>
                      <a:pt x="209" y="51"/>
                    </a:lnTo>
                    <a:lnTo>
                      <a:pt x="203" y="62"/>
                    </a:lnTo>
                    <a:lnTo>
                      <a:pt x="192" y="70"/>
                    </a:lnTo>
                    <a:lnTo>
                      <a:pt x="175" y="76"/>
                    </a:lnTo>
                    <a:lnTo>
                      <a:pt x="154" y="80"/>
                    </a:lnTo>
                    <a:lnTo>
                      <a:pt x="213" y="140"/>
                    </a:lnTo>
                    <a:lnTo>
                      <a:pt x="165" y="140"/>
                    </a:lnTo>
                    <a:lnTo>
                      <a:pt x="109" y="80"/>
                    </a:lnTo>
                    <a:lnTo>
                      <a:pt x="68" y="80"/>
                    </a:lnTo>
                    <a:lnTo>
                      <a:pt x="68" y="140"/>
                    </a:lnTo>
                    <a:lnTo>
                      <a:pt x="27" y="140"/>
                    </a:lnTo>
                    <a:lnTo>
                      <a:pt x="27" y="80"/>
                    </a:lnTo>
                    <a:lnTo>
                      <a:pt x="0" y="80"/>
                    </a:lnTo>
                    <a:lnTo>
                      <a:pt x="0" y="56"/>
                    </a:lnTo>
                    <a:lnTo>
                      <a:pt x="27" y="56"/>
                    </a:lnTo>
                    <a:lnTo>
                      <a:pt x="2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12">
                <a:extLst>
                  <a:ext uri="{FF2B5EF4-FFF2-40B4-BE49-F238E27FC236}">
                    <a16:creationId xmlns:a16="http://schemas.microsoft.com/office/drawing/2014/main" id="{F639817C-A61A-4159-AE98-CB7AE13056AD}"/>
                  </a:ext>
                </a:extLst>
              </p:cNvPr>
              <p:cNvSpPr>
                <a:spLocks/>
              </p:cNvSpPr>
              <p:nvPr userDrawn="1"/>
            </p:nvSpPr>
            <p:spPr bwMode="auto">
              <a:xfrm>
                <a:off x="8766175" y="2946400"/>
                <a:ext cx="379413" cy="231775"/>
              </a:xfrm>
              <a:custGeom>
                <a:avLst/>
                <a:gdLst>
                  <a:gd name="T0" fmla="*/ 119 w 239"/>
                  <a:gd name="T1" fmla="*/ 0 h 146"/>
                  <a:gd name="T2" fmla="*/ 146 w 239"/>
                  <a:gd name="T3" fmla="*/ 2 h 146"/>
                  <a:gd name="T4" fmla="*/ 171 w 239"/>
                  <a:gd name="T5" fmla="*/ 8 h 146"/>
                  <a:gd name="T6" fmla="*/ 195 w 239"/>
                  <a:gd name="T7" fmla="*/ 17 h 146"/>
                  <a:gd name="T8" fmla="*/ 214 w 239"/>
                  <a:gd name="T9" fmla="*/ 29 h 146"/>
                  <a:gd name="T10" fmla="*/ 181 w 239"/>
                  <a:gd name="T11" fmla="*/ 45 h 146"/>
                  <a:gd name="T12" fmla="*/ 165 w 239"/>
                  <a:gd name="T13" fmla="*/ 33 h 146"/>
                  <a:gd name="T14" fmla="*/ 143 w 239"/>
                  <a:gd name="T15" fmla="*/ 27 h 146"/>
                  <a:gd name="T16" fmla="*/ 119 w 239"/>
                  <a:gd name="T17" fmla="*/ 24 h 146"/>
                  <a:gd name="T18" fmla="*/ 97 w 239"/>
                  <a:gd name="T19" fmla="*/ 27 h 146"/>
                  <a:gd name="T20" fmla="*/ 75 w 239"/>
                  <a:gd name="T21" fmla="*/ 33 h 146"/>
                  <a:gd name="T22" fmla="*/ 59 w 239"/>
                  <a:gd name="T23" fmla="*/ 44 h 146"/>
                  <a:gd name="T24" fmla="*/ 47 w 239"/>
                  <a:gd name="T25" fmla="*/ 58 h 146"/>
                  <a:gd name="T26" fmla="*/ 44 w 239"/>
                  <a:gd name="T27" fmla="*/ 73 h 146"/>
                  <a:gd name="T28" fmla="*/ 47 w 239"/>
                  <a:gd name="T29" fmla="*/ 89 h 146"/>
                  <a:gd name="T30" fmla="*/ 59 w 239"/>
                  <a:gd name="T31" fmla="*/ 101 h 146"/>
                  <a:gd name="T32" fmla="*/ 75 w 239"/>
                  <a:gd name="T33" fmla="*/ 112 h 146"/>
                  <a:gd name="T34" fmla="*/ 97 w 239"/>
                  <a:gd name="T35" fmla="*/ 119 h 146"/>
                  <a:gd name="T36" fmla="*/ 119 w 239"/>
                  <a:gd name="T37" fmla="*/ 121 h 146"/>
                  <a:gd name="T38" fmla="*/ 145 w 239"/>
                  <a:gd name="T39" fmla="*/ 119 h 146"/>
                  <a:gd name="T40" fmla="*/ 168 w 239"/>
                  <a:gd name="T41" fmla="*/ 112 h 146"/>
                  <a:gd name="T42" fmla="*/ 184 w 239"/>
                  <a:gd name="T43" fmla="*/ 100 h 146"/>
                  <a:gd name="T44" fmla="*/ 195 w 239"/>
                  <a:gd name="T45" fmla="*/ 83 h 146"/>
                  <a:gd name="T46" fmla="*/ 119 w 239"/>
                  <a:gd name="T47" fmla="*/ 83 h 146"/>
                  <a:gd name="T48" fmla="*/ 119 w 239"/>
                  <a:gd name="T49" fmla="*/ 59 h 146"/>
                  <a:gd name="T50" fmla="*/ 239 w 239"/>
                  <a:gd name="T51" fmla="*/ 59 h 146"/>
                  <a:gd name="T52" fmla="*/ 239 w 239"/>
                  <a:gd name="T53" fmla="*/ 77 h 146"/>
                  <a:gd name="T54" fmla="*/ 237 w 239"/>
                  <a:gd name="T55" fmla="*/ 88 h 146"/>
                  <a:gd name="T56" fmla="*/ 233 w 239"/>
                  <a:gd name="T57" fmla="*/ 98 h 146"/>
                  <a:gd name="T58" fmla="*/ 223 w 239"/>
                  <a:gd name="T59" fmla="*/ 109 h 146"/>
                  <a:gd name="T60" fmla="*/ 211 w 239"/>
                  <a:gd name="T61" fmla="*/ 121 h 146"/>
                  <a:gd name="T62" fmla="*/ 195 w 239"/>
                  <a:gd name="T63" fmla="*/ 130 h 146"/>
                  <a:gd name="T64" fmla="*/ 175 w 239"/>
                  <a:gd name="T65" fmla="*/ 139 h 146"/>
                  <a:gd name="T66" fmla="*/ 149 w 239"/>
                  <a:gd name="T67" fmla="*/ 143 h 146"/>
                  <a:gd name="T68" fmla="*/ 119 w 239"/>
                  <a:gd name="T69" fmla="*/ 146 h 146"/>
                  <a:gd name="T70" fmla="*/ 88 w 239"/>
                  <a:gd name="T71" fmla="*/ 143 h 146"/>
                  <a:gd name="T72" fmla="*/ 59 w 239"/>
                  <a:gd name="T73" fmla="*/ 136 h 146"/>
                  <a:gd name="T74" fmla="*/ 35 w 239"/>
                  <a:gd name="T75" fmla="*/ 125 h 146"/>
                  <a:gd name="T76" fmla="*/ 17 w 239"/>
                  <a:gd name="T77" fmla="*/ 110 h 146"/>
                  <a:gd name="T78" fmla="*/ 4 w 239"/>
                  <a:gd name="T79" fmla="*/ 92 h 146"/>
                  <a:gd name="T80" fmla="*/ 0 w 239"/>
                  <a:gd name="T81" fmla="*/ 73 h 146"/>
                  <a:gd name="T82" fmla="*/ 4 w 239"/>
                  <a:gd name="T83" fmla="*/ 53 h 146"/>
                  <a:gd name="T84" fmla="*/ 17 w 239"/>
                  <a:gd name="T85" fmla="*/ 36 h 146"/>
                  <a:gd name="T86" fmla="*/ 35 w 239"/>
                  <a:gd name="T87" fmla="*/ 21 h 146"/>
                  <a:gd name="T88" fmla="*/ 59 w 239"/>
                  <a:gd name="T89" fmla="*/ 11 h 146"/>
                  <a:gd name="T90" fmla="*/ 88 w 239"/>
                  <a:gd name="T91" fmla="*/ 3 h 146"/>
                  <a:gd name="T92" fmla="*/ 119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19" y="0"/>
                    </a:moveTo>
                    <a:lnTo>
                      <a:pt x="146" y="2"/>
                    </a:lnTo>
                    <a:lnTo>
                      <a:pt x="171" y="8"/>
                    </a:lnTo>
                    <a:lnTo>
                      <a:pt x="195" y="17"/>
                    </a:lnTo>
                    <a:lnTo>
                      <a:pt x="214" y="29"/>
                    </a:lnTo>
                    <a:lnTo>
                      <a:pt x="181" y="45"/>
                    </a:lnTo>
                    <a:lnTo>
                      <a:pt x="165" y="33"/>
                    </a:lnTo>
                    <a:lnTo>
                      <a:pt x="143" y="27"/>
                    </a:lnTo>
                    <a:lnTo>
                      <a:pt x="119" y="24"/>
                    </a:lnTo>
                    <a:lnTo>
                      <a:pt x="97" y="27"/>
                    </a:lnTo>
                    <a:lnTo>
                      <a:pt x="75" y="33"/>
                    </a:lnTo>
                    <a:lnTo>
                      <a:pt x="59" y="44"/>
                    </a:lnTo>
                    <a:lnTo>
                      <a:pt x="47" y="58"/>
                    </a:lnTo>
                    <a:lnTo>
                      <a:pt x="44" y="73"/>
                    </a:lnTo>
                    <a:lnTo>
                      <a:pt x="47" y="89"/>
                    </a:lnTo>
                    <a:lnTo>
                      <a:pt x="59" y="101"/>
                    </a:lnTo>
                    <a:lnTo>
                      <a:pt x="75" y="112"/>
                    </a:lnTo>
                    <a:lnTo>
                      <a:pt x="97" y="119"/>
                    </a:lnTo>
                    <a:lnTo>
                      <a:pt x="119" y="121"/>
                    </a:lnTo>
                    <a:lnTo>
                      <a:pt x="145" y="119"/>
                    </a:lnTo>
                    <a:lnTo>
                      <a:pt x="168" y="112"/>
                    </a:lnTo>
                    <a:lnTo>
                      <a:pt x="184" y="100"/>
                    </a:lnTo>
                    <a:lnTo>
                      <a:pt x="195" y="83"/>
                    </a:lnTo>
                    <a:lnTo>
                      <a:pt x="119" y="83"/>
                    </a:lnTo>
                    <a:lnTo>
                      <a:pt x="119" y="59"/>
                    </a:lnTo>
                    <a:lnTo>
                      <a:pt x="239" y="59"/>
                    </a:lnTo>
                    <a:lnTo>
                      <a:pt x="239" y="77"/>
                    </a:lnTo>
                    <a:lnTo>
                      <a:pt x="237" y="88"/>
                    </a:lnTo>
                    <a:lnTo>
                      <a:pt x="233" y="98"/>
                    </a:lnTo>
                    <a:lnTo>
                      <a:pt x="223" y="109"/>
                    </a:lnTo>
                    <a:lnTo>
                      <a:pt x="211" y="121"/>
                    </a:lnTo>
                    <a:lnTo>
                      <a:pt x="195" y="130"/>
                    </a:lnTo>
                    <a:lnTo>
                      <a:pt x="175" y="139"/>
                    </a:lnTo>
                    <a:lnTo>
                      <a:pt x="149" y="143"/>
                    </a:lnTo>
                    <a:lnTo>
                      <a:pt x="119" y="146"/>
                    </a:lnTo>
                    <a:lnTo>
                      <a:pt x="88" y="143"/>
                    </a:lnTo>
                    <a:lnTo>
                      <a:pt x="59" y="136"/>
                    </a:lnTo>
                    <a:lnTo>
                      <a:pt x="35" y="125"/>
                    </a:lnTo>
                    <a:lnTo>
                      <a:pt x="17" y="110"/>
                    </a:lnTo>
                    <a:lnTo>
                      <a:pt x="4" y="92"/>
                    </a:lnTo>
                    <a:lnTo>
                      <a:pt x="0" y="73"/>
                    </a:lnTo>
                    <a:lnTo>
                      <a:pt x="4" y="53"/>
                    </a:lnTo>
                    <a:lnTo>
                      <a:pt x="17" y="36"/>
                    </a:lnTo>
                    <a:lnTo>
                      <a:pt x="35" y="21"/>
                    </a:lnTo>
                    <a:lnTo>
                      <a:pt x="59" y="11"/>
                    </a:lnTo>
                    <a:lnTo>
                      <a:pt x="88" y="3"/>
                    </a:lnTo>
                    <a:lnTo>
                      <a:pt x="119"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13">
                <a:extLst>
                  <a:ext uri="{FF2B5EF4-FFF2-40B4-BE49-F238E27FC236}">
                    <a16:creationId xmlns:a16="http://schemas.microsoft.com/office/drawing/2014/main" id="{764E5B46-AC92-48B0-8234-B035924B18DD}"/>
                  </a:ext>
                </a:extLst>
              </p:cNvPr>
              <p:cNvSpPr>
                <a:spLocks/>
              </p:cNvSpPr>
              <p:nvPr userDrawn="1"/>
            </p:nvSpPr>
            <p:spPr bwMode="auto">
              <a:xfrm>
                <a:off x="9174163" y="2951163"/>
                <a:ext cx="319088" cy="222250"/>
              </a:xfrm>
              <a:custGeom>
                <a:avLst/>
                <a:gdLst>
                  <a:gd name="T0" fmla="*/ 0 w 201"/>
                  <a:gd name="T1" fmla="*/ 0 h 140"/>
                  <a:gd name="T2" fmla="*/ 47 w 201"/>
                  <a:gd name="T3" fmla="*/ 0 h 140"/>
                  <a:gd name="T4" fmla="*/ 99 w 201"/>
                  <a:gd name="T5" fmla="*/ 55 h 140"/>
                  <a:gd name="T6" fmla="*/ 152 w 201"/>
                  <a:gd name="T7" fmla="*/ 0 h 140"/>
                  <a:gd name="T8" fmla="*/ 201 w 201"/>
                  <a:gd name="T9" fmla="*/ 0 h 140"/>
                  <a:gd name="T10" fmla="*/ 121 w 201"/>
                  <a:gd name="T11" fmla="*/ 79 h 140"/>
                  <a:gd name="T12" fmla="*/ 121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7" y="0"/>
                    </a:lnTo>
                    <a:lnTo>
                      <a:pt x="99" y="55"/>
                    </a:lnTo>
                    <a:lnTo>
                      <a:pt x="152" y="0"/>
                    </a:lnTo>
                    <a:lnTo>
                      <a:pt x="201" y="0"/>
                    </a:lnTo>
                    <a:lnTo>
                      <a:pt x="121" y="79"/>
                    </a:lnTo>
                    <a:lnTo>
                      <a:pt x="121" y="140"/>
                    </a:lnTo>
                    <a:lnTo>
                      <a:pt x="80" y="140"/>
                    </a:lnTo>
                    <a:lnTo>
                      <a:pt x="80" y="79"/>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4">
                <a:extLst>
                  <a:ext uri="{FF2B5EF4-FFF2-40B4-BE49-F238E27FC236}">
                    <a16:creationId xmlns:a16="http://schemas.microsoft.com/office/drawing/2014/main" id="{973A5ED9-3570-4939-9480-138C766A791C}"/>
                  </a:ext>
                </a:extLst>
              </p:cNvPr>
              <p:cNvSpPr>
                <a:spLocks/>
              </p:cNvSpPr>
              <p:nvPr userDrawn="1"/>
            </p:nvSpPr>
            <p:spPr bwMode="auto">
              <a:xfrm>
                <a:off x="7116763" y="2936875"/>
                <a:ext cx="311150" cy="222250"/>
              </a:xfrm>
              <a:custGeom>
                <a:avLst/>
                <a:gdLst>
                  <a:gd name="T0" fmla="*/ 26 w 196"/>
                  <a:gd name="T1" fmla="*/ 0 h 140"/>
                  <a:gd name="T2" fmla="*/ 196 w 196"/>
                  <a:gd name="T3" fmla="*/ 0 h 140"/>
                  <a:gd name="T4" fmla="*/ 196 w 196"/>
                  <a:gd name="T5" fmla="*/ 45 h 140"/>
                  <a:gd name="T6" fmla="*/ 154 w 196"/>
                  <a:gd name="T7" fmla="*/ 45 h 140"/>
                  <a:gd name="T8" fmla="*/ 154 w 196"/>
                  <a:gd name="T9" fmla="*/ 26 h 140"/>
                  <a:gd name="T10" fmla="*/ 66 w 196"/>
                  <a:gd name="T11" fmla="*/ 26 h 140"/>
                  <a:gd name="T12" fmla="*/ 66 w 196"/>
                  <a:gd name="T13" fmla="*/ 56 h 140"/>
                  <a:gd name="T14" fmla="*/ 157 w 196"/>
                  <a:gd name="T15" fmla="*/ 56 h 140"/>
                  <a:gd name="T16" fmla="*/ 157 w 196"/>
                  <a:gd name="T17" fmla="*/ 82 h 140"/>
                  <a:gd name="T18" fmla="*/ 66 w 196"/>
                  <a:gd name="T19" fmla="*/ 82 h 140"/>
                  <a:gd name="T20" fmla="*/ 66 w 196"/>
                  <a:gd name="T21" fmla="*/ 116 h 140"/>
                  <a:gd name="T22" fmla="*/ 154 w 196"/>
                  <a:gd name="T23" fmla="*/ 116 h 140"/>
                  <a:gd name="T24" fmla="*/ 154 w 196"/>
                  <a:gd name="T25" fmla="*/ 95 h 140"/>
                  <a:gd name="T26" fmla="*/ 196 w 196"/>
                  <a:gd name="T27" fmla="*/ 95 h 140"/>
                  <a:gd name="T28" fmla="*/ 196 w 196"/>
                  <a:gd name="T29" fmla="*/ 140 h 140"/>
                  <a:gd name="T30" fmla="*/ 26 w 196"/>
                  <a:gd name="T31" fmla="*/ 140 h 140"/>
                  <a:gd name="T32" fmla="*/ 26 w 196"/>
                  <a:gd name="T33" fmla="*/ 82 h 140"/>
                  <a:gd name="T34" fmla="*/ 0 w 196"/>
                  <a:gd name="T35" fmla="*/ 82 h 140"/>
                  <a:gd name="T36" fmla="*/ 0 w 196"/>
                  <a:gd name="T37" fmla="*/ 56 h 140"/>
                  <a:gd name="T38" fmla="*/ 26 w 196"/>
                  <a:gd name="T39" fmla="*/ 56 h 140"/>
                  <a:gd name="T40" fmla="*/ 26 w 196"/>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140">
                    <a:moveTo>
                      <a:pt x="26" y="0"/>
                    </a:moveTo>
                    <a:lnTo>
                      <a:pt x="196" y="0"/>
                    </a:lnTo>
                    <a:lnTo>
                      <a:pt x="196" y="45"/>
                    </a:lnTo>
                    <a:lnTo>
                      <a:pt x="154" y="45"/>
                    </a:lnTo>
                    <a:lnTo>
                      <a:pt x="154" y="26"/>
                    </a:lnTo>
                    <a:lnTo>
                      <a:pt x="66" y="26"/>
                    </a:lnTo>
                    <a:lnTo>
                      <a:pt x="66" y="56"/>
                    </a:lnTo>
                    <a:lnTo>
                      <a:pt x="157" y="56"/>
                    </a:lnTo>
                    <a:lnTo>
                      <a:pt x="157" y="82"/>
                    </a:lnTo>
                    <a:lnTo>
                      <a:pt x="66" y="82"/>
                    </a:lnTo>
                    <a:lnTo>
                      <a:pt x="66" y="116"/>
                    </a:lnTo>
                    <a:lnTo>
                      <a:pt x="154" y="116"/>
                    </a:lnTo>
                    <a:lnTo>
                      <a:pt x="154" y="95"/>
                    </a:lnTo>
                    <a:lnTo>
                      <a:pt x="196" y="95"/>
                    </a:lnTo>
                    <a:lnTo>
                      <a:pt x="196" y="140"/>
                    </a:lnTo>
                    <a:lnTo>
                      <a:pt x="26" y="140"/>
                    </a:lnTo>
                    <a:lnTo>
                      <a:pt x="26" y="82"/>
                    </a:lnTo>
                    <a:lnTo>
                      <a:pt x="0" y="82"/>
                    </a:lnTo>
                    <a:lnTo>
                      <a:pt x="0" y="56"/>
                    </a:lnTo>
                    <a:lnTo>
                      <a:pt x="26" y="56"/>
                    </a:lnTo>
                    <a:lnTo>
                      <a:pt x="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15">
                <a:extLst>
                  <a:ext uri="{FF2B5EF4-FFF2-40B4-BE49-F238E27FC236}">
                    <a16:creationId xmlns:a16="http://schemas.microsoft.com/office/drawing/2014/main" id="{790251BB-520C-402F-89AA-444E6C6FDC5D}"/>
                  </a:ext>
                </a:extLst>
              </p:cNvPr>
              <p:cNvSpPr>
                <a:spLocks/>
              </p:cNvSpPr>
              <p:nvPr userDrawn="1"/>
            </p:nvSpPr>
            <p:spPr bwMode="auto">
              <a:xfrm>
                <a:off x="7550150" y="2932113"/>
                <a:ext cx="295275" cy="231775"/>
              </a:xfrm>
              <a:custGeom>
                <a:avLst/>
                <a:gdLst>
                  <a:gd name="T0" fmla="*/ 0 w 186"/>
                  <a:gd name="T1" fmla="*/ 0 h 146"/>
                  <a:gd name="T2" fmla="*/ 144 w 186"/>
                  <a:gd name="T3" fmla="*/ 89 h 146"/>
                  <a:gd name="T4" fmla="*/ 144 w 186"/>
                  <a:gd name="T5" fmla="*/ 3 h 146"/>
                  <a:gd name="T6" fmla="*/ 186 w 186"/>
                  <a:gd name="T7" fmla="*/ 3 h 146"/>
                  <a:gd name="T8" fmla="*/ 186 w 186"/>
                  <a:gd name="T9" fmla="*/ 146 h 146"/>
                  <a:gd name="T10" fmla="*/ 43 w 186"/>
                  <a:gd name="T11" fmla="*/ 57 h 146"/>
                  <a:gd name="T12" fmla="*/ 43 w 186"/>
                  <a:gd name="T13" fmla="*/ 143 h 146"/>
                  <a:gd name="T14" fmla="*/ 0 w 186"/>
                  <a:gd name="T15" fmla="*/ 143 h 146"/>
                  <a:gd name="T16" fmla="*/ 0 w 186"/>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6">
                    <a:moveTo>
                      <a:pt x="0" y="0"/>
                    </a:moveTo>
                    <a:lnTo>
                      <a:pt x="144" y="89"/>
                    </a:lnTo>
                    <a:lnTo>
                      <a:pt x="144" y="3"/>
                    </a:lnTo>
                    <a:lnTo>
                      <a:pt x="186" y="3"/>
                    </a:lnTo>
                    <a:lnTo>
                      <a:pt x="186" y="146"/>
                    </a:lnTo>
                    <a:lnTo>
                      <a:pt x="43" y="57"/>
                    </a:lnTo>
                    <a:lnTo>
                      <a:pt x="43" y="143"/>
                    </a:lnTo>
                    <a:lnTo>
                      <a:pt x="0" y="14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16">
                <a:extLst>
                  <a:ext uri="{FF2B5EF4-FFF2-40B4-BE49-F238E27FC236}">
                    <a16:creationId xmlns:a16="http://schemas.microsoft.com/office/drawing/2014/main" id="{86A4F9E0-6B02-4441-B14C-26EC0BEFCE8A}"/>
                  </a:ext>
                </a:extLst>
              </p:cNvPr>
              <p:cNvSpPr>
                <a:spLocks/>
              </p:cNvSpPr>
              <p:nvPr userDrawn="1"/>
            </p:nvSpPr>
            <p:spPr bwMode="auto">
              <a:xfrm>
                <a:off x="7945438" y="2936875"/>
                <a:ext cx="312738" cy="222250"/>
              </a:xfrm>
              <a:custGeom>
                <a:avLst/>
                <a:gdLst>
                  <a:gd name="T0" fmla="*/ 28 w 197"/>
                  <a:gd name="T1" fmla="*/ 0 h 140"/>
                  <a:gd name="T2" fmla="*/ 197 w 197"/>
                  <a:gd name="T3" fmla="*/ 0 h 140"/>
                  <a:gd name="T4" fmla="*/ 197 w 197"/>
                  <a:gd name="T5" fmla="*/ 45 h 140"/>
                  <a:gd name="T6" fmla="*/ 156 w 197"/>
                  <a:gd name="T7" fmla="*/ 45 h 140"/>
                  <a:gd name="T8" fmla="*/ 156 w 197"/>
                  <a:gd name="T9" fmla="*/ 26 h 140"/>
                  <a:gd name="T10" fmla="*/ 68 w 197"/>
                  <a:gd name="T11" fmla="*/ 26 h 140"/>
                  <a:gd name="T12" fmla="*/ 68 w 197"/>
                  <a:gd name="T13" fmla="*/ 56 h 140"/>
                  <a:gd name="T14" fmla="*/ 159 w 197"/>
                  <a:gd name="T15" fmla="*/ 56 h 140"/>
                  <a:gd name="T16" fmla="*/ 159 w 197"/>
                  <a:gd name="T17" fmla="*/ 82 h 140"/>
                  <a:gd name="T18" fmla="*/ 68 w 197"/>
                  <a:gd name="T19" fmla="*/ 82 h 140"/>
                  <a:gd name="T20" fmla="*/ 68 w 197"/>
                  <a:gd name="T21" fmla="*/ 116 h 140"/>
                  <a:gd name="T22" fmla="*/ 156 w 197"/>
                  <a:gd name="T23" fmla="*/ 116 h 140"/>
                  <a:gd name="T24" fmla="*/ 156 w 197"/>
                  <a:gd name="T25" fmla="*/ 95 h 140"/>
                  <a:gd name="T26" fmla="*/ 197 w 197"/>
                  <a:gd name="T27" fmla="*/ 95 h 140"/>
                  <a:gd name="T28" fmla="*/ 197 w 197"/>
                  <a:gd name="T29" fmla="*/ 140 h 140"/>
                  <a:gd name="T30" fmla="*/ 28 w 197"/>
                  <a:gd name="T31" fmla="*/ 140 h 140"/>
                  <a:gd name="T32" fmla="*/ 28 w 197"/>
                  <a:gd name="T33" fmla="*/ 82 h 140"/>
                  <a:gd name="T34" fmla="*/ 0 w 197"/>
                  <a:gd name="T35" fmla="*/ 82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6"/>
                    </a:lnTo>
                    <a:lnTo>
                      <a:pt x="68" y="26"/>
                    </a:lnTo>
                    <a:lnTo>
                      <a:pt x="68" y="56"/>
                    </a:lnTo>
                    <a:lnTo>
                      <a:pt x="159" y="56"/>
                    </a:lnTo>
                    <a:lnTo>
                      <a:pt x="159" y="82"/>
                    </a:lnTo>
                    <a:lnTo>
                      <a:pt x="68" y="82"/>
                    </a:lnTo>
                    <a:lnTo>
                      <a:pt x="68" y="116"/>
                    </a:lnTo>
                    <a:lnTo>
                      <a:pt x="156" y="116"/>
                    </a:lnTo>
                    <a:lnTo>
                      <a:pt x="156" y="95"/>
                    </a:lnTo>
                    <a:lnTo>
                      <a:pt x="197" y="95"/>
                    </a:lnTo>
                    <a:lnTo>
                      <a:pt x="197" y="140"/>
                    </a:lnTo>
                    <a:lnTo>
                      <a:pt x="28" y="140"/>
                    </a:lnTo>
                    <a:lnTo>
                      <a:pt x="28" y="82"/>
                    </a:lnTo>
                    <a:lnTo>
                      <a:pt x="0" y="82"/>
                    </a:lnTo>
                    <a:lnTo>
                      <a:pt x="0" y="56"/>
                    </a:lnTo>
                    <a:lnTo>
                      <a:pt x="28" y="56"/>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a:extLst>
                  <a:ext uri="{FF2B5EF4-FFF2-40B4-BE49-F238E27FC236}">
                    <a16:creationId xmlns:a16="http://schemas.microsoft.com/office/drawing/2014/main" id="{8F33982F-5B89-40BC-BB97-37CCD6E7690E}"/>
                  </a:ext>
                </a:extLst>
              </p:cNvPr>
              <p:cNvSpPr>
                <a:spLocks noEditPoints="1"/>
              </p:cNvSpPr>
              <p:nvPr userDrawn="1"/>
            </p:nvSpPr>
            <p:spPr bwMode="auto">
              <a:xfrm>
                <a:off x="8351838" y="2936875"/>
                <a:ext cx="334963" cy="222250"/>
              </a:xfrm>
              <a:custGeom>
                <a:avLst/>
                <a:gdLst>
                  <a:gd name="T0" fmla="*/ 66 w 211"/>
                  <a:gd name="T1" fmla="*/ 26 h 140"/>
                  <a:gd name="T2" fmla="*/ 66 w 211"/>
                  <a:gd name="T3" fmla="*/ 56 h 140"/>
                  <a:gd name="T4" fmla="*/ 139 w 211"/>
                  <a:gd name="T5" fmla="*/ 56 h 140"/>
                  <a:gd name="T6" fmla="*/ 152 w 211"/>
                  <a:gd name="T7" fmla="*/ 54 h 140"/>
                  <a:gd name="T8" fmla="*/ 161 w 211"/>
                  <a:gd name="T9" fmla="*/ 51 h 140"/>
                  <a:gd name="T10" fmla="*/ 166 w 211"/>
                  <a:gd name="T11" fmla="*/ 47 h 140"/>
                  <a:gd name="T12" fmla="*/ 167 w 211"/>
                  <a:gd name="T13" fmla="*/ 41 h 140"/>
                  <a:gd name="T14" fmla="*/ 166 w 211"/>
                  <a:gd name="T15" fmla="*/ 35 h 140"/>
                  <a:gd name="T16" fmla="*/ 161 w 211"/>
                  <a:gd name="T17" fmla="*/ 30 h 140"/>
                  <a:gd name="T18" fmla="*/ 152 w 211"/>
                  <a:gd name="T19" fmla="*/ 27 h 140"/>
                  <a:gd name="T20" fmla="*/ 139 w 211"/>
                  <a:gd name="T21" fmla="*/ 26 h 140"/>
                  <a:gd name="T22" fmla="*/ 66 w 211"/>
                  <a:gd name="T23" fmla="*/ 26 h 140"/>
                  <a:gd name="T24" fmla="*/ 25 w 211"/>
                  <a:gd name="T25" fmla="*/ 0 h 140"/>
                  <a:gd name="T26" fmla="*/ 136 w 211"/>
                  <a:gd name="T27" fmla="*/ 0 h 140"/>
                  <a:gd name="T28" fmla="*/ 163 w 211"/>
                  <a:gd name="T29" fmla="*/ 3 h 140"/>
                  <a:gd name="T30" fmla="*/ 182 w 211"/>
                  <a:gd name="T31" fmla="*/ 8 h 140"/>
                  <a:gd name="T32" fmla="*/ 198 w 211"/>
                  <a:gd name="T33" fmla="*/ 17 h 140"/>
                  <a:gd name="T34" fmla="*/ 207 w 211"/>
                  <a:gd name="T35" fmla="*/ 27 h 140"/>
                  <a:gd name="T36" fmla="*/ 210 w 211"/>
                  <a:gd name="T37" fmla="*/ 41 h 140"/>
                  <a:gd name="T38" fmla="*/ 207 w 211"/>
                  <a:gd name="T39" fmla="*/ 51 h 140"/>
                  <a:gd name="T40" fmla="*/ 201 w 211"/>
                  <a:gd name="T41" fmla="*/ 62 h 140"/>
                  <a:gd name="T42" fmla="*/ 190 w 211"/>
                  <a:gd name="T43" fmla="*/ 70 h 140"/>
                  <a:gd name="T44" fmla="*/ 175 w 211"/>
                  <a:gd name="T45" fmla="*/ 77 h 140"/>
                  <a:gd name="T46" fmla="*/ 152 w 211"/>
                  <a:gd name="T47" fmla="*/ 80 h 140"/>
                  <a:gd name="T48" fmla="*/ 211 w 211"/>
                  <a:gd name="T49" fmla="*/ 140 h 140"/>
                  <a:gd name="T50" fmla="*/ 163 w 211"/>
                  <a:gd name="T51" fmla="*/ 140 h 140"/>
                  <a:gd name="T52" fmla="*/ 107 w 211"/>
                  <a:gd name="T53" fmla="*/ 82 h 140"/>
                  <a:gd name="T54" fmla="*/ 66 w 211"/>
                  <a:gd name="T55" fmla="*/ 82 h 140"/>
                  <a:gd name="T56" fmla="*/ 66 w 211"/>
                  <a:gd name="T57" fmla="*/ 140 h 140"/>
                  <a:gd name="T58" fmla="*/ 25 w 211"/>
                  <a:gd name="T59" fmla="*/ 140 h 140"/>
                  <a:gd name="T60" fmla="*/ 25 w 211"/>
                  <a:gd name="T61" fmla="*/ 82 h 140"/>
                  <a:gd name="T62" fmla="*/ 0 w 211"/>
                  <a:gd name="T63" fmla="*/ 82 h 140"/>
                  <a:gd name="T64" fmla="*/ 0 w 211"/>
                  <a:gd name="T65" fmla="*/ 56 h 140"/>
                  <a:gd name="T66" fmla="*/ 25 w 211"/>
                  <a:gd name="T67" fmla="*/ 56 h 140"/>
                  <a:gd name="T68" fmla="*/ 25 w 211"/>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140">
                    <a:moveTo>
                      <a:pt x="66" y="26"/>
                    </a:moveTo>
                    <a:lnTo>
                      <a:pt x="66" y="56"/>
                    </a:lnTo>
                    <a:lnTo>
                      <a:pt x="139" y="56"/>
                    </a:lnTo>
                    <a:lnTo>
                      <a:pt x="152" y="54"/>
                    </a:lnTo>
                    <a:lnTo>
                      <a:pt x="161" y="51"/>
                    </a:lnTo>
                    <a:lnTo>
                      <a:pt x="166" y="47"/>
                    </a:lnTo>
                    <a:lnTo>
                      <a:pt x="167" y="41"/>
                    </a:lnTo>
                    <a:lnTo>
                      <a:pt x="166" y="35"/>
                    </a:lnTo>
                    <a:lnTo>
                      <a:pt x="161" y="30"/>
                    </a:lnTo>
                    <a:lnTo>
                      <a:pt x="152" y="27"/>
                    </a:lnTo>
                    <a:lnTo>
                      <a:pt x="139" y="26"/>
                    </a:lnTo>
                    <a:lnTo>
                      <a:pt x="66" y="26"/>
                    </a:lnTo>
                    <a:close/>
                    <a:moveTo>
                      <a:pt x="25" y="0"/>
                    </a:moveTo>
                    <a:lnTo>
                      <a:pt x="136" y="0"/>
                    </a:lnTo>
                    <a:lnTo>
                      <a:pt x="163" y="3"/>
                    </a:lnTo>
                    <a:lnTo>
                      <a:pt x="182" y="8"/>
                    </a:lnTo>
                    <a:lnTo>
                      <a:pt x="198" y="17"/>
                    </a:lnTo>
                    <a:lnTo>
                      <a:pt x="207" y="27"/>
                    </a:lnTo>
                    <a:lnTo>
                      <a:pt x="210" y="41"/>
                    </a:lnTo>
                    <a:lnTo>
                      <a:pt x="207" y="51"/>
                    </a:lnTo>
                    <a:lnTo>
                      <a:pt x="201" y="62"/>
                    </a:lnTo>
                    <a:lnTo>
                      <a:pt x="190" y="70"/>
                    </a:lnTo>
                    <a:lnTo>
                      <a:pt x="175" y="77"/>
                    </a:lnTo>
                    <a:lnTo>
                      <a:pt x="152" y="80"/>
                    </a:lnTo>
                    <a:lnTo>
                      <a:pt x="211" y="140"/>
                    </a:lnTo>
                    <a:lnTo>
                      <a:pt x="163" y="140"/>
                    </a:lnTo>
                    <a:lnTo>
                      <a:pt x="107" y="82"/>
                    </a:lnTo>
                    <a:lnTo>
                      <a:pt x="66" y="82"/>
                    </a:lnTo>
                    <a:lnTo>
                      <a:pt x="66" y="140"/>
                    </a:lnTo>
                    <a:lnTo>
                      <a:pt x="25" y="140"/>
                    </a:lnTo>
                    <a:lnTo>
                      <a:pt x="25" y="82"/>
                    </a:lnTo>
                    <a:lnTo>
                      <a:pt x="0" y="82"/>
                    </a:lnTo>
                    <a:lnTo>
                      <a:pt x="0" y="56"/>
                    </a:lnTo>
                    <a:lnTo>
                      <a:pt x="25" y="56"/>
                    </a:lnTo>
                    <a:lnTo>
                      <a:pt x="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18">
                <a:extLst>
                  <a:ext uri="{FF2B5EF4-FFF2-40B4-BE49-F238E27FC236}">
                    <a16:creationId xmlns:a16="http://schemas.microsoft.com/office/drawing/2014/main" id="{772C22D9-9E14-425A-93A0-1E2F6C5995B1}"/>
                  </a:ext>
                </a:extLst>
              </p:cNvPr>
              <p:cNvSpPr>
                <a:spLocks/>
              </p:cNvSpPr>
              <p:nvPr userDrawn="1"/>
            </p:nvSpPr>
            <p:spPr bwMode="auto">
              <a:xfrm>
                <a:off x="8753475" y="2932113"/>
                <a:ext cx="379413" cy="231775"/>
              </a:xfrm>
              <a:custGeom>
                <a:avLst/>
                <a:gdLst>
                  <a:gd name="T0" fmla="*/ 120 w 239"/>
                  <a:gd name="T1" fmla="*/ 0 h 146"/>
                  <a:gd name="T2" fmla="*/ 145 w 239"/>
                  <a:gd name="T3" fmla="*/ 3 h 146"/>
                  <a:gd name="T4" fmla="*/ 171 w 239"/>
                  <a:gd name="T5" fmla="*/ 8 h 146"/>
                  <a:gd name="T6" fmla="*/ 194 w 239"/>
                  <a:gd name="T7" fmla="*/ 17 h 146"/>
                  <a:gd name="T8" fmla="*/ 213 w 239"/>
                  <a:gd name="T9" fmla="*/ 29 h 146"/>
                  <a:gd name="T10" fmla="*/ 180 w 239"/>
                  <a:gd name="T11" fmla="*/ 45 h 146"/>
                  <a:gd name="T12" fmla="*/ 164 w 239"/>
                  <a:gd name="T13" fmla="*/ 35 h 146"/>
                  <a:gd name="T14" fmla="*/ 142 w 239"/>
                  <a:gd name="T15" fmla="*/ 27 h 146"/>
                  <a:gd name="T16" fmla="*/ 120 w 239"/>
                  <a:gd name="T17" fmla="*/ 26 h 146"/>
                  <a:gd name="T18" fmla="*/ 96 w 239"/>
                  <a:gd name="T19" fmla="*/ 27 h 146"/>
                  <a:gd name="T20" fmla="*/ 74 w 239"/>
                  <a:gd name="T21" fmla="*/ 35 h 146"/>
                  <a:gd name="T22" fmla="*/ 58 w 239"/>
                  <a:gd name="T23" fmla="*/ 45 h 146"/>
                  <a:gd name="T24" fmla="*/ 47 w 239"/>
                  <a:gd name="T25" fmla="*/ 57 h 146"/>
                  <a:gd name="T26" fmla="*/ 43 w 239"/>
                  <a:gd name="T27" fmla="*/ 74 h 146"/>
                  <a:gd name="T28" fmla="*/ 47 w 239"/>
                  <a:gd name="T29" fmla="*/ 89 h 146"/>
                  <a:gd name="T30" fmla="*/ 58 w 239"/>
                  <a:gd name="T31" fmla="*/ 103 h 146"/>
                  <a:gd name="T32" fmla="*/ 74 w 239"/>
                  <a:gd name="T33" fmla="*/ 113 h 146"/>
                  <a:gd name="T34" fmla="*/ 96 w 239"/>
                  <a:gd name="T35" fmla="*/ 119 h 146"/>
                  <a:gd name="T36" fmla="*/ 120 w 239"/>
                  <a:gd name="T37" fmla="*/ 122 h 146"/>
                  <a:gd name="T38" fmla="*/ 145 w 239"/>
                  <a:gd name="T39" fmla="*/ 119 h 146"/>
                  <a:gd name="T40" fmla="*/ 168 w 239"/>
                  <a:gd name="T41" fmla="*/ 112 h 146"/>
                  <a:gd name="T42" fmla="*/ 185 w 239"/>
                  <a:gd name="T43" fmla="*/ 100 h 146"/>
                  <a:gd name="T44" fmla="*/ 195 w 239"/>
                  <a:gd name="T45" fmla="*/ 85 h 146"/>
                  <a:gd name="T46" fmla="*/ 118 w 239"/>
                  <a:gd name="T47" fmla="*/ 85 h 146"/>
                  <a:gd name="T48" fmla="*/ 118 w 239"/>
                  <a:gd name="T49" fmla="*/ 59 h 146"/>
                  <a:gd name="T50" fmla="*/ 239 w 239"/>
                  <a:gd name="T51" fmla="*/ 59 h 146"/>
                  <a:gd name="T52" fmla="*/ 239 w 239"/>
                  <a:gd name="T53" fmla="*/ 79 h 146"/>
                  <a:gd name="T54" fmla="*/ 238 w 239"/>
                  <a:gd name="T55" fmla="*/ 88 h 146"/>
                  <a:gd name="T56" fmla="*/ 231 w 239"/>
                  <a:gd name="T57" fmla="*/ 98 h 146"/>
                  <a:gd name="T58" fmla="*/ 224 w 239"/>
                  <a:gd name="T59" fmla="*/ 110 h 146"/>
                  <a:gd name="T60" fmla="*/ 212 w 239"/>
                  <a:gd name="T61" fmla="*/ 121 h 146"/>
                  <a:gd name="T62" fmla="*/ 195 w 239"/>
                  <a:gd name="T63" fmla="*/ 131 h 146"/>
                  <a:gd name="T64" fmla="*/ 174 w 239"/>
                  <a:gd name="T65" fmla="*/ 139 h 146"/>
                  <a:gd name="T66" fmla="*/ 148 w 239"/>
                  <a:gd name="T67" fmla="*/ 145 h 146"/>
                  <a:gd name="T68" fmla="*/ 120 w 239"/>
                  <a:gd name="T69" fmla="*/ 146 h 146"/>
                  <a:gd name="T70" fmla="*/ 86 w 239"/>
                  <a:gd name="T71" fmla="*/ 143 h 146"/>
                  <a:gd name="T72" fmla="*/ 59 w 239"/>
                  <a:gd name="T73" fmla="*/ 136 h 146"/>
                  <a:gd name="T74" fmla="*/ 35 w 239"/>
                  <a:gd name="T75" fmla="*/ 125 h 146"/>
                  <a:gd name="T76" fmla="*/ 15 w 239"/>
                  <a:gd name="T77" fmla="*/ 110 h 146"/>
                  <a:gd name="T78" fmla="*/ 3 w 239"/>
                  <a:gd name="T79" fmla="*/ 94 h 146"/>
                  <a:gd name="T80" fmla="*/ 0 w 239"/>
                  <a:gd name="T81" fmla="*/ 74 h 146"/>
                  <a:gd name="T82" fmla="*/ 3 w 239"/>
                  <a:gd name="T83" fmla="*/ 54 h 146"/>
                  <a:gd name="T84" fmla="*/ 15 w 239"/>
                  <a:gd name="T85" fmla="*/ 36 h 146"/>
                  <a:gd name="T86" fmla="*/ 35 w 239"/>
                  <a:gd name="T87" fmla="*/ 21 h 146"/>
                  <a:gd name="T88" fmla="*/ 59 w 239"/>
                  <a:gd name="T89" fmla="*/ 11 h 146"/>
                  <a:gd name="T90" fmla="*/ 86 w 239"/>
                  <a:gd name="T91" fmla="*/ 3 h 146"/>
                  <a:gd name="T92" fmla="*/ 120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20" y="0"/>
                    </a:moveTo>
                    <a:lnTo>
                      <a:pt x="145" y="3"/>
                    </a:lnTo>
                    <a:lnTo>
                      <a:pt x="171" y="8"/>
                    </a:lnTo>
                    <a:lnTo>
                      <a:pt x="194" y="17"/>
                    </a:lnTo>
                    <a:lnTo>
                      <a:pt x="213" y="29"/>
                    </a:lnTo>
                    <a:lnTo>
                      <a:pt x="180" y="45"/>
                    </a:lnTo>
                    <a:lnTo>
                      <a:pt x="164" y="35"/>
                    </a:lnTo>
                    <a:lnTo>
                      <a:pt x="142" y="27"/>
                    </a:lnTo>
                    <a:lnTo>
                      <a:pt x="120" y="26"/>
                    </a:lnTo>
                    <a:lnTo>
                      <a:pt x="96" y="27"/>
                    </a:lnTo>
                    <a:lnTo>
                      <a:pt x="74" y="35"/>
                    </a:lnTo>
                    <a:lnTo>
                      <a:pt x="58" y="45"/>
                    </a:lnTo>
                    <a:lnTo>
                      <a:pt x="47" y="57"/>
                    </a:lnTo>
                    <a:lnTo>
                      <a:pt x="43" y="74"/>
                    </a:lnTo>
                    <a:lnTo>
                      <a:pt x="47" y="89"/>
                    </a:lnTo>
                    <a:lnTo>
                      <a:pt x="58" y="103"/>
                    </a:lnTo>
                    <a:lnTo>
                      <a:pt x="74" y="113"/>
                    </a:lnTo>
                    <a:lnTo>
                      <a:pt x="96" y="119"/>
                    </a:lnTo>
                    <a:lnTo>
                      <a:pt x="120" y="122"/>
                    </a:lnTo>
                    <a:lnTo>
                      <a:pt x="145" y="119"/>
                    </a:lnTo>
                    <a:lnTo>
                      <a:pt x="168" y="112"/>
                    </a:lnTo>
                    <a:lnTo>
                      <a:pt x="185" y="100"/>
                    </a:lnTo>
                    <a:lnTo>
                      <a:pt x="195" y="85"/>
                    </a:lnTo>
                    <a:lnTo>
                      <a:pt x="118" y="85"/>
                    </a:lnTo>
                    <a:lnTo>
                      <a:pt x="118" y="59"/>
                    </a:lnTo>
                    <a:lnTo>
                      <a:pt x="239" y="59"/>
                    </a:lnTo>
                    <a:lnTo>
                      <a:pt x="239" y="79"/>
                    </a:lnTo>
                    <a:lnTo>
                      <a:pt x="238" y="88"/>
                    </a:lnTo>
                    <a:lnTo>
                      <a:pt x="231" y="98"/>
                    </a:lnTo>
                    <a:lnTo>
                      <a:pt x="224" y="110"/>
                    </a:lnTo>
                    <a:lnTo>
                      <a:pt x="212" y="121"/>
                    </a:lnTo>
                    <a:lnTo>
                      <a:pt x="195" y="131"/>
                    </a:lnTo>
                    <a:lnTo>
                      <a:pt x="174" y="139"/>
                    </a:lnTo>
                    <a:lnTo>
                      <a:pt x="148" y="145"/>
                    </a:lnTo>
                    <a:lnTo>
                      <a:pt x="120" y="146"/>
                    </a:lnTo>
                    <a:lnTo>
                      <a:pt x="86" y="143"/>
                    </a:lnTo>
                    <a:lnTo>
                      <a:pt x="59" y="136"/>
                    </a:lnTo>
                    <a:lnTo>
                      <a:pt x="35" y="125"/>
                    </a:lnTo>
                    <a:lnTo>
                      <a:pt x="15" y="110"/>
                    </a:lnTo>
                    <a:lnTo>
                      <a:pt x="3" y="94"/>
                    </a:lnTo>
                    <a:lnTo>
                      <a:pt x="0" y="74"/>
                    </a:lnTo>
                    <a:lnTo>
                      <a:pt x="3" y="54"/>
                    </a:lnTo>
                    <a:lnTo>
                      <a:pt x="15" y="36"/>
                    </a:lnTo>
                    <a:lnTo>
                      <a:pt x="35" y="21"/>
                    </a:lnTo>
                    <a:lnTo>
                      <a:pt x="59" y="11"/>
                    </a:lnTo>
                    <a:lnTo>
                      <a:pt x="86" y="3"/>
                    </a:lnTo>
                    <a:lnTo>
                      <a:pt x="1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19">
                <a:extLst>
                  <a:ext uri="{FF2B5EF4-FFF2-40B4-BE49-F238E27FC236}">
                    <a16:creationId xmlns:a16="http://schemas.microsoft.com/office/drawing/2014/main" id="{0295763C-36DE-4C81-9529-9F4ED4B6199B}"/>
                  </a:ext>
                </a:extLst>
              </p:cNvPr>
              <p:cNvSpPr>
                <a:spLocks/>
              </p:cNvSpPr>
              <p:nvPr userDrawn="1"/>
            </p:nvSpPr>
            <p:spPr bwMode="auto">
              <a:xfrm>
                <a:off x="9159875" y="2936875"/>
                <a:ext cx="319088" cy="222250"/>
              </a:xfrm>
              <a:custGeom>
                <a:avLst/>
                <a:gdLst>
                  <a:gd name="T0" fmla="*/ 0 w 201"/>
                  <a:gd name="T1" fmla="*/ 0 h 140"/>
                  <a:gd name="T2" fmla="*/ 48 w 201"/>
                  <a:gd name="T3" fmla="*/ 0 h 140"/>
                  <a:gd name="T4" fmla="*/ 101 w 201"/>
                  <a:gd name="T5" fmla="*/ 54 h 140"/>
                  <a:gd name="T6" fmla="*/ 154 w 201"/>
                  <a:gd name="T7" fmla="*/ 0 h 140"/>
                  <a:gd name="T8" fmla="*/ 201 w 201"/>
                  <a:gd name="T9" fmla="*/ 0 h 140"/>
                  <a:gd name="T10" fmla="*/ 120 w 201"/>
                  <a:gd name="T11" fmla="*/ 79 h 140"/>
                  <a:gd name="T12" fmla="*/ 120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8" y="0"/>
                    </a:lnTo>
                    <a:lnTo>
                      <a:pt x="101" y="54"/>
                    </a:lnTo>
                    <a:lnTo>
                      <a:pt x="154" y="0"/>
                    </a:lnTo>
                    <a:lnTo>
                      <a:pt x="201" y="0"/>
                    </a:lnTo>
                    <a:lnTo>
                      <a:pt x="120" y="79"/>
                    </a:lnTo>
                    <a:lnTo>
                      <a:pt x="120" y="140"/>
                    </a:lnTo>
                    <a:lnTo>
                      <a:pt x="80" y="140"/>
                    </a:lnTo>
                    <a:lnTo>
                      <a:pt x="80" y="7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0">
                <a:extLst>
                  <a:ext uri="{FF2B5EF4-FFF2-40B4-BE49-F238E27FC236}">
                    <a16:creationId xmlns:a16="http://schemas.microsoft.com/office/drawing/2014/main" id="{DC5976AD-8F89-4AEC-AE2E-3EE554F612BA}"/>
                  </a:ext>
                </a:extLst>
              </p:cNvPr>
              <p:cNvSpPr>
                <a:spLocks noEditPoints="1"/>
              </p:cNvSpPr>
              <p:nvPr userDrawn="1"/>
            </p:nvSpPr>
            <p:spPr bwMode="auto">
              <a:xfrm>
                <a:off x="7137400" y="2624138"/>
                <a:ext cx="427038" cy="255588"/>
              </a:xfrm>
              <a:custGeom>
                <a:avLst/>
                <a:gdLst>
                  <a:gd name="T0" fmla="*/ 118 w 269"/>
                  <a:gd name="T1" fmla="*/ 45 h 161"/>
                  <a:gd name="T2" fmla="*/ 85 w 269"/>
                  <a:gd name="T3" fmla="*/ 105 h 161"/>
                  <a:gd name="T4" fmla="*/ 148 w 269"/>
                  <a:gd name="T5" fmla="*/ 105 h 161"/>
                  <a:gd name="T6" fmla="*/ 118 w 269"/>
                  <a:gd name="T7" fmla="*/ 45 h 161"/>
                  <a:gd name="T8" fmla="*/ 97 w 269"/>
                  <a:gd name="T9" fmla="*/ 0 h 161"/>
                  <a:gd name="T10" fmla="*/ 182 w 269"/>
                  <a:gd name="T11" fmla="*/ 0 h 161"/>
                  <a:gd name="T12" fmla="*/ 269 w 269"/>
                  <a:gd name="T13" fmla="*/ 158 h 161"/>
                  <a:gd name="T14" fmla="*/ 269 w 269"/>
                  <a:gd name="T15" fmla="*/ 161 h 161"/>
                  <a:gd name="T16" fmla="*/ 179 w 269"/>
                  <a:gd name="T17" fmla="*/ 161 h 161"/>
                  <a:gd name="T18" fmla="*/ 162 w 269"/>
                  <a:gd name="T19" fmla="*/ 131 h 161"/>
                  <a:gd name="T20" fmla="*/ 73 w 269"/>
                  <a:gd name="T21" fmla="*/ 131 h 161"/>
                  <a:gd name="T22" fmla="*/ 58 w 269"/>
                  <a:gd name="T23" fmla="*/ 161 h 161"/>
                  <a:gd name="T24" fmla="*/ 0 w 269"/>
                  <a:gd name="T25" fmla="*/ 161 h 161"/>
                  <a:gd name="T26" fmla="*/ 0 w 269"/>
                  <a:gd name="T27" fmla="*/ 158 h 161"/>
                  <a:gd name="T28" fmla="*/ 97 w 269"/>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61">
                    <a:moveTo>
                      <a:pt x="118" y="45"/>
                    </a:moveTo>
                    <a:lnTo>
                      <a:pt x="85" y="105"/>
                    </a:lnTo>
                    <a:lnTo>
                      <a:pt x="148" y="105"/>
                    </a:lnTo>
                    <a:lnTo>
                      <a:pt x="118" y="45"/>
                    </a:lnTo>
                    <a:close/>
                    <a:moveTo>
                      <a:pt x="97" y="0"/>
                    </a:moveTo>
                    <a:lnTo>
                      <a:pt x="182" y="0"/>
                    </a:lnTo>
                    <a:lnTo>
                      <a:pt x="269" y="158"/>
                    </a:lnTo>
                    <a:lnTo>
                      <a:pt x="269" y="161"/>
                    </a:lnTo>
                    <a:lnTo>
                      <a:pt x="179" y="161"/>
                    </a:lnTo>
                    <a:lnTo>
                      <a:pt x="162" y="131"/>
                    </a:lnTo>
                    <a:lnTo>
                      <a:pt x="73" y="131"/>
                    </a:lnTo>
                    <a:lnTo>
                      <a:pt x="58" y="161"/>
                    </a:lnTo>
                    <a:lnTo>
                      <a:pt x="0" y="161"/>
                    </a:lnTo>
                    <a:lnTo>
                      <a:pt x="0" y="158"/>
                    </a:lnTo>
                    <a:lnTo>
                      <a:pt x="9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1">
                <a:extLst>
                  <a:ext uri="{FF2B5EF4-FFF2-40B4-BE49-F238E27FC236}">
                    <a16:creationId xmlns:a16="http://schemas.microsoft.com/office/drawing/2014/main" id="{D7220C68-717C-467F-8393-D338CEDFB604}"/>
                  </a:ext>
                </a:extLst>
              </p:cNvPr>
              <p:cNvSpPr>
                <a:spLocks/>
              </p:cNvSpPr>
              <p:nvPr userDrawn="1"/>
            </p:nvSpPr>
            <p:spPr bwMode="auto">
              <a:xfrm>
                <a:off x="7597775" y="2624138"/>
                <a:ext cx="387350" cy="265113"/>
              </a:xfrm>
              <a:custGeom>
                <a:avLst/>
                <a:gdLst>
                  <a:gd name="T0" fmla="*/ 0 w 244"/>
                  <a:gd name="T1" fmla="*/ 0 h 167"/>
                  <a:gd name="T2" fmla="*/ 83 w 244"/>
                  <a:gd name="T3" fmla="*/ 0 h 167"/>
                  <a:gd name="T4" fmla="*/ 83 w 244"/>
                  <a:gd name="T5" fmla="*/ 6 h 167"/>
                  <a:gd name="T6" fmla="*/ 83 w 244"/>
                  <a:gd name="T7" fmla="*/ 18 h 167"/>
                  <a:gd name="T8" fmla="*/ 83 w 244"/>
                  <a:gd name="T9" fmla="*/ 80 h 167"/>
                  <a:gd name="T10" fmla="*/ 83 w 244"/>
                  <a:gd name="T11" fmla="*/ 96 h 167"/>
                  <a:gd name="T12" fmla="*/ 83 w 244"/>
                  <a:gd name="T13" fmla="*/ 108 h 167"/>
                  <a:gd name="T14" fmla="*/ 85 w 244"/>
                  <a:gd name="T15" fmla="*/ 119 h 167"/>
                  <a:gd name="T16" fmla="*/ 90 w 244"/>
                  <a:gd name="T17" fmla="*/ 128 h 167"/>
                  <a:gd name="T18" fmla="*/ 96 w 244"/>
                  <a:gd name="T19" fmla="*/ 134 h 167"/>
                  <a:gd name="T20" fmla="*/ 106 w 244"/>
                  <a:gd name="T21" fmla="*/ 139 h 167"/>
                  <a:gd name="T22" fmla="*/ 121 w 244"/>
                  <a:gd name="T23" fmla="*/ 140 h 167"/>
                  <a:gd name="T24" fmla="*/ 136 w 244"/>
                  <a:gd name="T25" fmla="*/ 139 h 167"/>
                  <a:gd name="T26" fmla="*/ 148 w 244"/>
                  <a:gd name="T27" fmla="*/ 134 h 167"/>
                  <a:gd name="T28" fmla="*/ 154 w 244"/>
                  <a:gd name="T29" fmla="*/ 128 h 167"/>
                  <a:gd name="T30" fmla="*/ 159 w 244"/>
                  <a:gd name="T31" fmla="*/ 119 h 167"/>
                  <a:gd name="T32" fmla="*/ 161 w 244"/>
                  <a:gd name="T33" fmla="*/ 108 h 167"/>
                  <a:gd name="T34" fmla="*/ 161 w 244"/>
                  <a:gd name="T35" fmla="*/ 96 h 167"/>
                  <a:gd name="T36" fmla="*/ 161 w 244"/>
                  <a:gd name="T37" fmla="*/ 80 h 167"/>
                  <a:gd name="T38" fmla="*/ 161 w 244"/>
                  <a:gd name="T39" fmla="*/ 59 h 167"/>
                  <a:gd name="T40" fmla="*/ 161 w 244"/>
                  <a:gd name="T41" fmla="*/ 0 h 167"/>
                  <a:gd name="T42" fmla="*/ 244 w 244"/>
                  <a:gd name="T43" fmla="*/ 0 h 167"/>
                  <a:gd name="T44" fmla="*/ 244 w 244"/>
                  <a:gd name="T45" fmla="*/ 6 h 167"/>
                  <a:gd name="T46" fmla="*/ 244 w 244"/>
                  <a:gd name="T47" fmla="*/ 20 h 167"/>
                  <a:gd name="T48" fmla="*/ 244 w 244"/>
                  <a:gd name="T49" fmla="*/ 38 h 167"/>
                  <a:gd name="T50" fmla="*/ 244 w 244"/>
                  <a:gd name="T51" fmla="*/ 59 h 167"/>
                  <a:gd name="T52" fmla="*/ 244 w 244"/>
                  <a:gd name="T53" fmla="*/ 78 h 167"/>
                  <a:gd name="T54" fmla="*/ 244 w 244"/>
                  <a:gd name="T55" fmla="*/ 93 h 167"/>
                  <a:gd name="T56" fmla="*/ 241 w 244"/>
                  <a:gd name="T57" fmla="*/ 113 h 167"/>
                  <a:gd name="T58" fmla="*/ 232 w 244"/>
                  <a:gd name="T59" fmla="*/ 129 h 167"/>
                  <a:gd name="T60" fmla="*/ 218 w 244"/>
                  <a:gd name="T61" fmla="*/ 143 h 167"/>
                  <a:gd name="T62" fmla="*/ 198 w 244"/>
                  <a:gd name="T63" fmla="*/ 154 h 167"/>
                  <a:gd name="T64" fmla="*/ 176 w 244"/>
                  <a:gd name="T65" fmla="*/ 161 h 167"/>
                  <a:gd name="T66" fmla="*/ 150 w 244"/>
                  <a:gd name="T67" fmla="*/ 166 h 167"/>
                  <a:gd name="T68" fmla="*/ 121 w 244"/>
                  <a:gd name="T69" fmla="*/ 167 h 167"/>
                  <a:gd name="T70" fmla="*/ 93 w 244"/>
                  <a:gd name="T71" fmla="*/ 166 h 167"/>
                  <a:gd name="T72" fmla="*/ 67 w 244"/>
                  <a:gd name="T73" fmla="*/ 161 h 167"/>
                  <a:gd name="T74" fmla="*/ 44 w 244"/>
                  <a:gd name="T75" fmla="*/ 154 h 167"/>
                  <a:gd name="T76" fmla="*/ 26 w 244"/>
                  <a:gd name="T77" fmla="*/ 143 h 167"/>
                  <a:gd name="T78" fmla="*/ 13 w 244"/>
                  <a:gd name="T79" fmla="*/ 129 h 167"/>
                  <a:gd name="T80" fmla="*/ 3 w 244"/>
                  <a:gd name="T81" fmla="*/ 113 h 167"/>
                  <a:gd name="T82" fmla="*/ 0 w 244"/>
                  <a:gd name="T83" fmla="*/ 93 h 167"/>
                  <a:gd name="T84" fmla="*/ 0 w 244"/>
                  <a:gd name="T8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167">
                    <a:moveTo>
                      <a:pt x="0" y="0"/>
                    </a:moveTo>
                    <a:lnTo>
                      <a:pt x="83" y="0"/>
                    </a:lnTo>
                    <a:lnTo>
                      <a:pt x="83" y="6"/>
                    </a:lnTo>
                    <a:lnTo>
                      <a:pt x="83" y="18"/>
                    </a:lnTo>
                    <a:lnTo>
                      <a:pt x="83" y="80"/>
                    </a:lnTo>
                    <a:lnTo>
                      <a:pt x="83" y="96"/>
                    </a:lnTo>
                    <a:lnTo>
                      <a:pt x="83" y="108"/>
                    </a:lnTo>
                    <a:lnTo>
                      <a:pt x="85" y="119"/>
                    </a:lnTo>
                    <a:lnTo>
                      <a:pt x="90" y="128"/>
                    </a:lnTo>
                    <a:lnTo>
                      <a:pt x="96" y="134"/>
                    </a:lnTo>
                    <a:lnTo>
                      <a:pt x="106" y="139"/>
                    </a:lnTo>
                    <a:lnTo>
                      <a:pt x="121" y="140"/>
                    </a:lnTo>
                    <a:lnTo>
                      <a:pt x="136" y="139"/>
                    </a:lnTo>
                    <a:lnTo>
                      <a:pt x="148" y="134"/>
                    </a:lnTo>
                    <a:lnTo>
                      <a:pt x="154" y="128"/>
                    </a:lnTo>
                    <a:lnTo>
                      <a:pt x="159" y="119"/>
                    </a:lnTo>
                    <a:lnTo>
                      <a:pt x="161" y="108"/>
                    </a:lnTo>
                    <a:lnTo>
                      <a:pt x="161" y="96"/>
                    </a:lnTo>
                    <a:lnTo>
                      <a:pt x="161" y="80"/>
                    </a:lnTo>
                    <a:lnTo>
                      <a:pt x="161" y="59"/>
                    </a:lnTo>
                    <a:lnTo>
                      <a:pt x="161" y="0"/>
                    </a:lnTo>
                    <a:lnTo>
                      <a:pt x="244" y="0"/>
                    </a:lnTo>
                    <a:lnTo>
                      <a:pt x="244" y="6"/>
                    </a:lnTo>
                    <a:lnTo>
                      <a:pt x="244" y="20"/>
                    </a:lnTo>
                    <a:lnTo>
                      <a:pt x="244" y="38"/>
                    </a:lnTo>
                    <a:lnTo>
                      <a:pt x="244" y="59"/>
                    </a:lnTo>
                    <a:lnTo>
                      <a:pt x="244" y="78"/>
                    </a:lnTo>
                    <a:lnTo>
                      <a:pt x="244" y="93"/>
                    </a:lnTo>
                    <a:lnTo>
                      <a:pt x="241" y="113"/>
                    </a:lnTo>
                    <a:lnTo>
                      <a:pt x="232" y="129"/>
                    </a:lnTo>
                    <a:lnTo>
                      <a:pt x="218" y="143"/>
                    </a:lnTo>
                    <a:lnTo>
                      <a:pt x="198" y="154"/>
                    </a:lnTo>
                    <a:lnTo>
                      <a:pt x="176" y="161"/>
                    </a:lnTo>
                    <a:lnTo>
                      <a:pt x="150" y="166"/>
                    </a:lnTo>
                    <a:lnTo>
                      <a:pt x="121" y="167"/>
                    </a:lnTo>
                    <a:lnTo>
                      <a:pt x="93" y="166"/>
                    </a:lnTo>
                    <a:lnTo>
                      <a:pt x="67" y="161"/>
                    </a:lnTo>
                    <a:lnTo>
                      <a:pt x="44" y="154"/>
                    </a:lnTo>
                    <a:lnTo>
                      <a:pt x="26" y="143"/>
                    </a:lnTo>
                    <a:lnTo>
                      <a:pt x="13" y="129"/>
                    </a:lnTo>
                    <a:lnTo>
                      <a:pt x="3" y="113"/>
                    </a:lnTo>
                    <a:lnTo>
                      <a:pt x="0" y="9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22">
                <a:extLst>
                  <a:ext uri="{FF2B5EF4-FFF2-40B4-BE49-F238E27FC236}">
                    <a16:creationId xmlns:a16="http://schemas.microsoft.com/office/drawing/2014/main" id="{96511C7C-9C0E-4881-A3C5-CABA6D1648D7}"/>
                  </a:ext>
                </a:extLst>
              </p:cNvPr>
              <p:cNvSpPr>
                <a:spLocks/>
              </p:cNvSpPr>
              <p:nvPr userDrawn="1"/>
            </p:nvSpPr>
            <p:spPr bwMode="auto">
              <a:xfrm>
                <a:off x="8053388" y="2616200"/>
                <a:ext cx="371475" cy="271463"/>
              </a:xfrm>
              <a:custGeom>
                <a:avLst/>
                <a:gdLst>
                  <a:gd name="T0" fmla="*/ 151 w 234"/>
                  <a:gd name="T1" fmla="*/ 2 h 171"/>
                  <a:gd name="T2" fmla="*/ 201 w 234"/>
                  <a:gd name="T3" fmla="*/ 14 h 171"/>
                  <a:gd name="T4" fmla="*/ 191 w 234"/>
                  <a:gd name="T5" fmla="*/ 44 h 171"/>
                  <a:gd name="T6" fmla="*/ 154 w 234"/>
                  <a:gd name="T7" fmla="*/ 31 h 171"/>
                  <a:gd name="T8" fmla="*/ 120 w 234"/>
                  <a:gd name="T9" fmla="*/ 26 h 171"/>
                  <a:gd name="T10" fmla="*/ 93 w 234"/>
                  <a:gd name="T11" fmla="*/ 28 h 171"/>
                  <a:gd name="T12" fmla="*/ 80 w 234"/>
                  <a:gd name="T13" fmla="*/ 38 h 171"/>
                  <a:gd name="T14" fmla="*/ 91 w 234"/>
                  <a:gd name="T15" fmla="*/ 49 h 171"/>
                  <a:gd name="T16" fmla="*/ 124 w 234"/>
                  <a:gd name="T17" fmla="*/ 56 h 171"/>
                  <a:gd name="T18" fmla="*/ 162 w 234"/>
                  <a:gd name="T19" fmla="*/ 64 h 171"/>
                  <a:gd name="T20" fmla="*/ 197 w 234"/>
                  <a:gd name="T21" fmla="*/ 73 h 171"/>
                  <a:gd name="T22" fmla="*/ 224 w 234"/>
                  <a:gd name="T23" fmla="*/ 89 h 171"/>
                  <a:gd name="T24" fmla="*/ 234 w 234"/>
                  <a:gd name="T25" fmla="*/ 115 h 171"/>
                  <a:gd name="T26" fmla="*/ 222 w 234"/>
                  <a:gd name="T27" fmla="*/ 144 h 171"/>
                  <a:gd name="T28" fmla="*/ 188 w 234"/>
                  <a:gd name="T29" fmla="*/ 162 h 171"/>
                  <a:gd name="T30" fmla="*/ 142 w 234"/>
                  <a:gd name="T31" fmla="*/ 169 h 171"/>
                  <a:gd name="T32" fmla="*/ 82 w 234"/>
                  <a:gd name="T33" fmla="*/ 169 h 171"/>
                  <a:gd name="T34" fmla="*/ 31 w 234"/>
                  <a:gd name="T35" fmla="*/ 156 h 171"/>
                  <a:gd name="T36" fmla="*/ 0 w 234"/>
                  <a:gd name="T37" fmla="*/ 139 h 171"/>
                  <a:gd name="T38" fmla="*/ 49 w 234"/>
                  <a:gd name="T39" fmla="*/ 128 h 171"/>
                  <a:gd name="T40" fmla="*/ 93 w 234"/>
                  <a:gd name="T41" fmla="*/ 144 h 171"/>
                  <a:gd name="T42" fmla="*/ 124 w 234"/>
                  <a:gd name="T43" fmla="*/ 145 h 171"/>
                  <a:gd name="T44" fmla="*/ 145 w 234"/>
                  <a:gd name="T45" fmla="*/ 142 h 171"/>
                  <a:gd name="T46" fmla="*/ 157 w 234"/>
                  <a:gd name="T47" fmla="*/ 133 h 171"/>
                  <a:gd name="T48" fmla="*/ 144 w 234"/>
                  <a:gd name="T49" fmla="*/ 121 h 171"/>
                  <a:gd name="T50" fmla="*/ 111 w 234"/>
                  <a:gd name="T51" fmla="*/ 112 h 171"/>
                  <a:gd name="T52" fmla="*/ 76 w 234"/>
                  <a:gd name="T53" fmla="*/ 106 h 171"/>
                  <a:gd name="T54" fmla="*/ 44 w 234"/>
                  <a:gd name="T55" fmla="*/ 97 h 171"/>
                  <a:gd name="T56" fmla="*/ 17 w 234"/>
                  <a:gd name="T57" fmla="*/ 82 h 171"/>
                  <a:gd name="T58" fmla="*/ 6 w 234"/>
                  <a:gd name="T59" fmla="*/ 56 h 171"/>
                  <a:gd name="T60" fmla="*/ 17 w 234"/>
                  <a:gd name="T61" fmla="*/ 29 h 171"/>
                  <a:gd name="T62" fmla="*/ 46 w 234"/>
                  <a:gd name="T63" fmla="*/ 13 h 171"/>
                  <a:gd name="T64" fmla="*/ 82 w 234"/>
                  <a:gd name="T65" fmla="*/ 3 h 171"/>
                  <a:gd name="T66" fmla="*/ 120 w 234"/>
                  <a:gd name="T6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1">
                    <a:moveTo>
                      <a:pt x="120" y="0"/>
                    </a:moveTo>
                    <a:lnTo>
                      <a:pt x="151" y="2"/>
                    </a:lnTo>
                    <a:lnTo>
                      <a:pt x="179" y="6"/>
                    </a:lnTo>
                    <a:lnTo>
                      <a:pt x="201" y="14"/>
                    </a:lnTo>
                    <a:lnTo>
                      <a:pt x="222" y="26"/>
                    </a:lnTo>
                    <a:lnTo>
                      <a:pt x="191" y="44"/>
                    </a:lnTo>
                    <a:lnTo>
                      <a:pt x="174" y="37"/>
                    </a:lnTo>
                    <a:lnTo>
                      <a:pt x="154" y="31"/>
                    </a:lnTo>
                    <a:lnTo>
                      <a:pt x="136" y="26"/>
                    </a:lnTo>
                    <a:lnTo>
                      <a:pt x="120" y="26"/>
                    </a:lnTo>
                    <a:lnTo>
                      <a:pt x="106" y="26"/>
                    </a:lnTo>
                    <a:lnTo>
                      <a:pt x="93" y="28"/>
                    </a:lnTo>
                    <a:lnTo>
                      <a:pt x="83" y="32"/>
                    </a:lnTo>
                    <a:lnTo>
                      <a:pt x="80" y="38"/>
                    </a:lnTo>
                    <a:lnTo>
                      <a:pt x="82" y="44"/>
                    </a:lnTo>
                    <a:lnTo>
                      <a:pt x="91" y="49"/>
                    </a:lnTo>
                    <a:lnTo>
                      <a:pt x="105" y="52"/>
                    </a:lnTo>
                    <a:lnTo>
                      <a:pt x="124" y="56"/>
                    </a:lnTo>
                    <a:lnTo>
                      <a:pt x="145" y="59"/>
                    </a:lnTo>
                    <a:lnTo>
                      <a:pt x="162" y="64"/>
                    </a:lnTo>
                    <a:lnTo>
                      <a:pt x="180" y="68"/>
                    </a:lnTo>
                    <a:lnTo>
                      <a:pt x="197" y="73"/>
                    </a:lnTo>
                    <a:lnTo>
                      <a:pt x="212" y="80"/>
                    </a:lnTo>
                    <a:lnTo>
                      <a:pt x="224" y="89"/>
                    </a:lnTo>
                    <a:lnTo>
                      <a:pt x="231" y="101"/>
                    </a:lnTo>
                    <a:lnTo>
                      <a:pt x="234" y="115"/>
                    </a:lnTo>
                    <a:lnTo>
                      <a:pt x="231" y="131"/>
                    </a:lnTo>
                    <a:lnTo>
                      <a:pt x="222" y="144"/>
                    </a:lnTo>
                    <a:lnTo>
                      <a:pt x="207" y="154"/>
                    </a:lnTo>
                    <a:lnTo>
                      <a:pt x="188" y="162"/>
                    </a:lnTo>
                    <a:lnTo>
                      <a:pt x="167" y="166"/>
                    </a:lnTo>
                    <a:lnTo>
                      <a:pt x="142" y="169"/>
                    </a:lnTo>
                    <a:lnTo>
                      <a:pt x="117" y="171"/>
                    </a:lnTo>
                    <a:lnTo>
                      <a:pt x="82" y="169"/>
                    </a:lnTo>
                    <a:lnTo>
                      <a:pt x="53" y="163"/>
                    </a:lnTo>
                    <a:lnTo>
                      <a:pt x="31" y="156"/>
                    </a:lnTo>
                    <a:lnTo>
                      <a:pt x="12" y="147"/>
                    </a:lnTo>
                    <a:lnTo>
                      <a:pt x="0" y="139"/>
                    </a:lnTo>
                    <a:lnTo>
                      <a:pt x="34" y="119"/>
                    </a:lnTo>
                    <a:lnTo>
                      <a:pt x="49" y="128"/>
                    </a:lnTo>
                    <a:lnTo>
                      <a:pt x="70" y="138"/>
                    </a:lnTo>
                    <a:lnTo>
                      <a:pt x="93" y="144"/>
                    </a:lnTo>
                    <a:lnTo>
                      <a:pt x="117" y="145"/>
                    </a:lnTo>
                    <a:lnTo>
                      <a:pt x="124" y="145"/>
                    </a:lnTo>
                    <a:lnTo>
                      <a:pt x="136" y="144"/>
                    </a:lnTo>
                    <a:lnTo>
                      <a:pt x="145" y="142"/>
                    </a:lnTo>
                    <a:lnTo>
                      <a:pt x="154" y="139"/>
                    </a:lnTo>
                    <a:lnTo>
                      <a:pt x="157" y="133"/>
                    </a:lnTo>
                    <a:lnTo>
                      <a:pt x="153" y="125"/>
                    </a:lnTo>
                    <a:lnTo>
                      <a:pt x="144" y="121"/>
                    </a:lnTo>
                    <a:lnTo>
                      <a:pt x="129" y="116"/>
                    </a:lnTo>
                    <a:lnTo>
                      <a:pt x="111" y="112"/>
                    </a:lnTo>
                    <a:lnTo>
                      <a:pt x="91" y="109"/>
                    </a:lnTo>
                    <a:lnTo>
                      <a:pt x="76" y="106"/>
                    </a:lnTo>
                    <a:lnTo>
                      <a:pt x="61" y="101"/>
                    </a:lnTo>
                    <a:lnTo>
                      <a:pt x="44" y="97"/>
                    </a:lnTo>
                    <a:lnTo>
                      <a:pt x="29" y="91"/>
                    </a:lnTo>
                    <a:lnTo>
                      <a:pt x="17" y="82"/>
                    </a:lnTo>
                    <a:lnTo>
                      <a:pt x="9" y="71"/>
                    </a:lnTo>
                    <a:lnTo>
                      <a:pt x="6" y="56"/>
                    </a:lnTo>
                    <a:lnTo>
                      <a:pt x="9" y="41"/>
                    </a:lnTo>
                    <a:lnTo>
                      <a:pt x="17" y="29"/>
                    </a:lnTo>
                    <a:lnTo>
                      <a:pt x="29" y="19"/>
                    </a:lnTo>
                    <a:lnTo>
                      <a:pt x="46" y="13"/>
                    </a:lnTo>
                    <a:lnTo>
                      <a:pt x="64" y="6"/>
                    </a:lnTo>
                    <a:lnTo>
                      <a:pt x="82" y="3"/>
                    </a:lnTo>
                    <a:lnTo>
                      <a:pt x="102" y="0"/>
                    </a:lnTo>
                    <a:lnTo>
                      <a:pt x="12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23">
                <a:extLst>
                  <a:ext uri="{FF2B5EF4-FFF2-40B4-BE49-F238E27FC236}">
                    <a16:creationId xmlns:a16="http://schemas.microsoft.com/office/drawing/2014/main" id="{0AEDD3C7-9C17-4AA6-B546-22E2731FB4BB}"/>
                  </a:ext>
                </a:extLst>
              </p:cNvPr>
              <p:cNvSpPr>
                <a:spLocks/>
              </p:cNvSpPr>
              <p:nvPr userDrawn="1"/>
            </p:nvSpPr>
            <p:spPr bwMode="auto">
              <a:xfrm>
                <a:off x="8456613" y="2624138"/>
                <a:ext cx="352425" cy="255588"/>
              </a:xfrm>
              <a:custGeom>
                <a:avLst/>
                <a:gdLst>
                  <a:gd name="T0" fmla="*/ 15 w 222"/>
                  <a:gd name="T1" fmla="*/ 0 h 161"/>
                  <a:gd name="T2" fmla="*/ 207 w 222"/>
                  <a:gd name="T3" fmla="*/ 0 h 161"/>
                  <a:gd name="T4" fmla="*/ 222 w 222"/>
                  <a:gd name="T5" fmla="*/ 24 h 161"/>
                  <a:gd name="T6" fmla="*/ 222 w 222"/>
                  <a:gd name="T7" fmla="*/ 27 h 161"/>
                  <a:gd name="T8" fmla="*/ 153 w 222"/>
                  <a:gd name="T9" fmla="*/ 27 h 161"/>
                  <a:gd name="T10" fmla="*/ 153 w 222"/>
                  <a:gd name="T11" fmla="*/ 161 h 161"/>
                  <a:gd name="T12" fmla="*/ 68 w 222"/>
                  <a:gd name="T13" fmla="*/ 161 h 161"/>
                  <a:gd name="T14" fmla="*/ 68 w 222"/>
                  <a:gd name="T15" fmla="*/ 27 h 161"/>
                  <a:gd name="T16" fmla="*/ 0 w 222"/>
                  <a:gd name="T17" fmla="*/ 27 h 161"/>
                  <a:gd name="T18" fmla="*/ 0 w 222"/>
                  <a:gd name="T19" fmla="*/ 24 h 161"/>
                  <a:gd name="T20" fmla="*/ 15 w 222"/>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1">
                    <a:moveTo>
                      <a:pt x="15" y="0"/>
                    </a:moveTo>
                    <a:lnTo>
                      <a:pt x="207" y="0"/>
                    </a:lnTo>
                    <a:lnTo>
                      <a:pt x="222" y="24"/>
                    </a:lnTo>
                    <a:lnTo>
                      <a:pt x="222" y="27"/>
                    </a:lnTo>
                    <a:lnTo>
                      <a:pt x="153" y="27"/>
                    </a:lnTo>
                    <a:lnTo>
                      <a:pt x="153" y="161"/>
                    </a:lnTo>
                    <a:lnTo>
                      <a:pt x="68" y="161"/>
                    </a:lnTo>
                    <a:lnTo>
                      <a:pt x="68" y="27"/>
                    </a:lnTo>
                    <a:lnTo>
                      <a:pt x="0" y="27"/>
                    </a:lnTo>
                    <a:lnTo>
                      <a:pt x="0" y="24"/>
                    </a:lnTo>
                    <a:lnTo>
                      <a:pt x="15"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Rectangle 24">
                <a:extLst>
                  <a:ext uri="{FF2B5EF4-FFF2-40B4-BE49-F238E27FC236}">
                    <a16:creationId xmlns:a16="http://schemas.microsoft.com/office/drawing/2014/main" id="{338B22BE-53A0-4960-B36F-D6694962E2D0}"/>
                  </a:ext>
                </a:extLst>
              </p:cNvPr>
              <p:cNvSpPr>
                <a:spLocks noChangeArrowheads="1"/>
              </p:cNvSpPr>
              <p:nvPr userDrawn="1"/>
            </p:nvSpPr>
            <p:spPr bwMode="auto">
              <a:xfrm>
                <a:off x="8875713" y="2624138"/>
                <a:ext cx="131763" cy="255588"/>
              </a:xfrm>
              <a:prstGeom prst="rect">
                <a:avLst/>
              </a:prstGeom>
              <a:solidFill>
                <a:srgbClr val="231F2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25">
                <a:extLst>
                  <a:ext uri="{FF2B5EF4-FFF2-40B4-BE49-F238E27FC236}">
                    <a16:creationId xmlns:a16="http://schemas.microsoft.com/office/drawing/2014/main" id="{86BC25C0-CDC4-4736-9707-D9A22E1790F5}"/>
                  </a:ext>
                </a:extLst>
              </p:cNvPr>
              <p:cNvSpPr>
                <a:spLocks/>
              </p:cNvSpPr>
              <p:nvPr userDrawn="1"/>
            </p:nvSpPr>
            <p:spPr bwMode="auto">
              <a:xfrm>
                <a:off x="9101138" y="2624138"/>
                <a:ext cx="398463" cy="255588"/>
              </a:xfrm>
              <a:custGeom>
                <a:avLst/>
                <a:gdLst>
                  <a:gd name="T0" fmla="*/ 0 w 251"/>
                  <a:gd name="T1" fmla="*/ 0 h 161"/>
                  <a:gd name="T2" fmla="*/ 47 w 251"/>
                  <a:gd name="T3" fmla="*/ 0 h 161"/>
                  <a:gd name="T4" fmla="*/ 198 w 251"/>
                  <a:gd name="T5" fmla="*/ 86 h 161"/>
                  <a:gd name="T6" fmla="*/ 198 w 251"/>
                  <a:gd name="T7" fmla="*/ 0 h 161"/>
                  <a:gd name="T8" fmla="*/ 251 w 251"/>
                  <a:gd name="T9" fmla="*/ 0 h 161"/>
                  <a:gd name="T10" fmla="*/ 251 w 251"/>
                  <a:gd name="T11" fmla="*/ 161 h 161"/>
                  <a:gd name="T12" fmla="*/ 200 w 251"/>
                  <a:gd name="T13" fmla="*/ 161 h 161"/>
                  <a:gd name="T14" fmla="*/ 53 w 251"/>
                  <a:gd name="T15" fmla="*/ 78 h 161"/>
                  <a:gd name="T16" fmla="*/ 53 w 251"/>
                  <a:gd name="T17" fmla="*/ 161 h 161"/>
                  <a:gd name="T18" fmla="*/ 0 w 251"/>
                  <a:gd name="T19" fmla="*/ 161 h 161"/>
                  <a:gd name="T20" fmla="*/ 0 w 251"/>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1">
                    <a:moveTo>
                      <a:pt x="0" y="0"/>
                    </a:moveTo>
                    <a:lnTo>
                      <a:pt x="47" y="0"/>
                    </a:lnTo>
                    <a:lnTo>
                      <a:pt x="198" y="86"/>
                    </a:lnTo>
                    <a:lnTo>
                      <a:pt x="198" y="0"/>
                    </a:lnTo>
                    <a:lnTo>
                      <a:pt x="251" y="0"/>
                    </a:lnTo>
                    <a:lnTo>
                      <a:pt x="251" y="161"/>
                    </a:lnTo>
                    <a:lnTo>
                      <a:pt x="200" y="161"/>
                    </a:lnTo>
                    <a:lnTo>
                      <a:pt x="53" y="78"/>
                    </a:lnTo>
                    <a:lnTo>
                      <a:pt x="53" y="161"/>
                    </a:lnTo>
                    <a:lnTo>
                      <a:pt x="0" y="161"/>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26">
                <a:extLst>
                  <a:ext uri="{FF2B5EF4-FFF2-40B4-BE49-F238E27FC236}">
                    <a16:creationId xmlns:a16="http://schemas.microsoft.com/office/drawing/2014/main" id="{4BD8852B-0A57-444F-9A4E-38AF4FB3E40B}"/>
                  </a:ext>
                </a:extLst>
              </p:cNvPr>
              <p:cNvSpPr>
                <a:spLocks noEditPoints="1"/>
              </p:cNvSpPr>
              <p:nvPr userDrawn="1"/>
            </p:nvSpPr>
            <p:spPr bwMode="auto">
              <a:xfrm>
                <a:off x="7116763" y="2601913"/>
                <a:ext cx="423863" cy="254000"/>
              </a:xfrm>
              <a:custGeom>
                <a:avLst/>
                <a:gdLst>
                  <a:gd name="T0" fmla="*/ 118 w 267"/>
                  <a:gd name="T1" fmla="*/ 46 h 160"/>
                  <a:gd name="T2" fmla="*/ 84 w 267"/>
                  <a:gd name="T3" fmla="*/ 106 h 160"/>
                  <a:gd name="T4" fmla="*/ 148 w 267"/>
                  <a:gd name="T5" fmla="*/ 106 h 160"/>
                  <a:gd name="T6" fmla="*/ 118 w 267"/>
                  <a:gd name="T7" fmla="*/ 46 h 160"/>
                  <a:gd name="T8" fmla="*/ 95 w 267"/>
                  <a:gd name="T9" fmla="*/ 0 h 160"/>
                  <a:gd name="T10" fmla="*/ 180 w 267"/>
                  <a:gd name="T11" fmla="*/ 0 h 160"/>
                  <a:gd name="T12" fmla="*/ 267 w 267"/>
                  <a:gd name="T13" fmla="*/ 159 h 160"/>
                  <a:gd name="T14" fmla="*/ 267 w 267"/>
                  <a:gd name="T15" fmla="*/ 160 h 160"/>
                  <a:gd name="T16" fmla="*/ 177 w 267"/>
                  <a:gd name="T17" fmla="*/ 160 h 160"/>
                  <a:gd name="T18" fmla="*/ 161 w 267"/>
                  <a:gd name="T19" fmla="*/ 131 h 160"/>
                  <a:gd name="T20" fmla="*/ 72 w 267"/>
                  <a:gd name="T21" fmla="*/ 131 h 160"/>
                  <a:gd name="T22" fmla="*/ 57 w 267"/>
                  <a:gd name="T23" fmla="*/ 160 h 160"/>
                  <a:gd name="T24" fmla="*/ 0 w 267"/>
                  <a:gd name="T25" fmla="*/ 160 h 160"/>
                  <a:gd name="T26" fmla="*/ 0 w 267"/>
                  <a:gd name="T27" fmla="*/ 159 h 160"/>
                  <a:gd name="T28" fmla="*/ 95 w 267"/>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160">
                    <a:moveTo>
                      <a:pt x="118" y="46"/>
                    </a:moveTo>
                    <a:lnTo>
                      <a:pt x="84" y="106"/>
                    </a:lnTo>
                    <a:lnTo>
                      <a:pt x="148" y="106"/>
                    </a:lnTo>
                    <a:lnTo>
                      <a:pt x="118" y="46"/>
                    </a:lnTo>
                    <a:close/>
                    <a:moveTo>
                      <a:pt x="95" y="0"/>
                    </a:moveTo>
                    <a:lnTo>
                      <a:pt x="180" y="0"/>
                    </a:lnTo>
                    <a:lnTo>
                      <a:pt x="267" y="159"/>
                    </a:lnTo>
                    <a:lnTo>
                      <a:pt x="267" y="160"/>
                    </a:lnTo>
                    <a:lnTo>
                      <a:pt x="177" y="160"/>
                    </a:lnTo>
                    <a:lnTo>
                      <a:pt x="161" y="131"/>
                    </a:lnTo>
                    <a:lnTo>
                      <a:pt x="72" y="131"/>
                    </a:lnTo>
                    <a:lnTo>
                      <a:pt x="57" y="160"/>
                    </a:lnTo>
                    <a:lnTo>
                      <a:pt x="0" y="160"/>
                    </a:lnTo>
                    <a:lnTo>
                      <a:pt x="0" y="159"/>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27">
                <a:extLst>
                  <a:ext uri="{FF2B5EF4-FFF2-40B4-BE49-F238E27FC236}">
                    <a16:creationId xmlns:a16="http://schemas.microsoft.com/office/drawing/2014/main" id="{F2A21440-A089-490A-A15F-AE18510E32D5}"/>
                  </a:ext>
                </a:extLst>
              </p:cNvPr>
              <p:cNvSpPr>
                <a:spLocks/>
              </p:cNvSpPr>
              <p:nvPr userDrawn="1"/>
            </p:nvSpPr>
            <p:spPr bwMode="auto">
              <a:xfrm>
                <a:off x="7577138" y="2601913"/>
                <a:ext cx="385763" cy="266700"/>
              </a:xfrm>
              <a:custGeom>
                <a:avLst/>
                <a:gdLst>
                  <a:gd name="T0" fmla="*/ 0 w 243"/>
                  <a:gd name="T1" fmla="*/ 0 h 168"/>
                  <a:gd name="T2" fmla="*/ 83 w 243"/>
                  <a:gd name="T3" fmla="*/ 0 h 168"/>
                  <a:gd name="T4" fmla="*/ 83 w 243"/>
                  <a:gd name="T5" fmla="*/ 6 h 168"/>
                  <a:gd name="T6" fmla="*/ 83 w 243"/>
                  <a:gd name="T7" fmla="*/ 19 h 168"/>
                  <a:gd name="T8" fmla="*/ 83 w 243"/>
                  <a:gd name="T9" fmla="*/ 59 h 168"/>
                  <a:gd name="T10" fmla="*/ 83 w 243"/>
                  <a:gd name="T11" fmla="*/ 80 h 168"/>
                  <a:gd name="T12" fmla="*/ 83 w 243"/>
                  <a:gd name="T13" fmla="*/ 109 h 168"/>
                  <a:gd name="T14" fmla="*/ 84 w 243"/>
                  <a:gd name="T15" fmla="*/ 119 h 168"/>
                  <a:gd name="T16" fmla="*/ 87 w 243"/>
                  <a:gd name="T17" fmla="*/ 127 h 168"/>
                  <a:gd name="T18" fmla="*/ 95 w 243"/>
                  <a:gd name="T19" fmla="*/ 134 h 168"/>
                  <a:gd name="T20" fmla="*/ 106 w 243"/>
                  <a:gd name="T21" fmla="*/ 139 h 168"/>
                  <a:gd name="T22" fmla="*/ 121 w 243"/>
                  <a:gd name="T23" fmla="*/ 140 h 168"/>
                  <a:gd name="T24" fmla="*/ 136 w 243"/>
                  <a:gd name="T25" fmla="*/ 139 h 168"/>
                  <a:gd name="T26" fmla="*/ 148 w 243"/>
                  <a:gd name="T27" fmla="*/ 134 h 168"/>
                  <a:gd name="T28" fmla="*/ 154 w 243"/>
                  <a:gd name="T29" fmla="*/ 127 h 168"/>
                  <a:gd name="T30" fmla="*/ 158 w 243"/>
                  <a:gd name="T31" fmla="*/ 119 h 168"/>
                  <a:gd name="T32" fmla="*/ 160 w 243"/>
                  <a:gd name="T33" fmla="*/ 109 h 168"/>
                  <a:gd name="T34" fmla="*/ 160 w 243"/>
                  <a:gd name="T35" fmla="*/ 59 h 168"/>
                  <a:gd name="T36" fmla="*/ 160 w 243"/>
                  <a:gd name="T37" fmla="*/ 38 h 168"/>
                  <a:gd name="T38" fmla="*/ 160 w 243"/>
                  <a:gd name="T39" fmla="*/ 6 h 168"/>
                  <a:gd name="T40" fmla="*/ 160 w 243"/>
                  <a:gd name="T41" fmla="*/ 0 h 168"/>
                  <a:gd name="T42" fmla="*/ 243 w 243"/>
                  <a:gd name="T43" fmla="*/ 0 h 168"/>
                  <a:gd name="T44" fmla="*/ 243 w 243"/>
                  <a:gd name="T45" fmla="*/ 6 h 168"/>
                  <a:gd name="T46" fmla="*/ 243 w 243"/>
                  <a:gd name="T47" fmla="*/ 20 h 168"/>
                  <a:gd name="T48" fmla="*/ 243 w 243"/>
                  <a:gd name="T49" fmla="*/ 38 h 168"/>
                  <a:gd name="T50" fmla="*/ 243 w 243"/>
                  <a:gd name="T51" fmla="*/ 59 h 168"/>
                  <a:gd name="T52" fmla="*/ 243 w 243"/>
                  <a:gd name="T53" fmla="*/ 79 h 168"/>
                  <a:gd name="T54" fmla="*/ 243 w 243"/>
                  <a:gd name="T55" fmla="*/ 94 h 168"/>
                  <a:gd name="T56" fmla="*/ 240 w 243"/>
                  <a:gd name="T57" fmla="*/ 113 h 168"/>
                  <a:gd name="T58" fmla="*/ 231 w 243"/>
                  <a:gd name="T59" fmla="*/ 130 h 168"/>
                  <a:gd name="T60" fmla="*/ 217 w 243"/>
                  <a:gd name="T61" fmla="*/ 143 h 168"/>
                  <a:gd name="T62" fmla="*/ 198 w 243"/>
                  <a:gd name="T63" fmla="*/ 154 h 168"/>
                  <a:gd name="T64" fmla="*/ 175 w 243"/>
                  <a:gd name="T65" fmla="*/ 162 h 168"/>
                  <a:gd name="T66" fmla="*/ 149 w 243"/>
                  <a:gd name="T67" fmla="*/ 166 h 168"/>
                  <a:gd name="T68" fmla="*/ 121 w 243"/>
                  <a:gd name="T69" fmla="*/ 168 h 168"/>
                  <a:gd name="T70" fmla="*/ 92 w 243"/>
                  <a:gd name="T71" fmla="*/ 166 h 168"/>
                  <a:gd name="T72" fmla="*/ 66 w 243"/>
                  <a:gd name="T73" fmla="*/ 162 h 168"/>
                  <a:gd name="T74" fmla="*/ 44 w 243"/>
                  <a:gd name="T75" fmla="*/ 154 h 168"/>
                  <a:gd name="T76" fmla="*/ 26 w 243"/>
                  <a:gd name="T77" fmla="*/ 143 h 168"/>
                  <a:gd name="T78" fmla="*/ 12 w 243"/>
                  <a:gd name="T79" fmla="*/ 130 h 168"/>
                  <a:gd name="T80" fmla="*/ 3 w 243"/>
                  <a:gd name="T81" fmla="*/ 113 h 168"/>
                  <a:gd name="T82" fmla="*/ 0 w 243"/>
                  <a:gd name="T83" fmla="*/ 94 h 168"/>
                  <a:gd name="T84" fmla="*/ 0 w 243"/>
                  <a:gd name="T8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168">
                    <a:moveTo>
                      <a:pt x="0" y="0"/>
                    </a:moveTo>
                    <a:lnTo>
                      <a:pt x="83" y="0"/>
                    </a:lnTo>
                    <a:lnTo>
                      <a:pt x="83" y="6"/>
                    </a:lnTo>
                    <a:lnTo>
                      <a:pt x="83" y="19"/>
                    </a:lnTo>
                    <a:lnTo>
                      <a:pt x="83" y="59"/>
                    </a:lnTo>
                    <a:lnTo>
                      <a:pt x="83" y="80"/>
                    </a:lnTo>
                    <a:lnTo>
                      <a:pt x="83" y="109"/>
                    </a:lnTo>
                    <a:lnTo>
                      <a:pt x="84" y="119"/>
                    </a:lnTo>
                    <a:lnTo>
                      <a:pt x="87" y="127"/>
                    </a:lnTo>
                    <a:lnTo>
                      <a:pt x="95" y="134"/>
                    </a:lnTo>
                    <a:lnTo>
                      <a:pt x="106" y="139"/>
                    </a:lnTo>
                    <a:lnTo>
                      <a:pt x="121" y="140"/>
                    </a:lnTo>
                    <a:lnTo>
                      <a:pt x="136" y="139"/>
                    </a:lnTo>
                    <a:lnTo>
                      <a:pt x="148" y="134"/>
                    </a:lnTo>
                    <a:lnTo>
                      <a:pt x="154" y="127"/>
                    </a:lnTo>
                    <a:lnTo>
                      <a:pt x="158" y="119"/>
                    </a:lnTo>
                    <a:lnTo>
                      <a:pt x="160" y="109"/>
                    </a:lnTo>
                    <a:lnTo>
                      <a:pt x="160" y="59"/>
                    </a:lnTo>
                    <a:lnTo>
                      <a:pt x="160" y="38"/>
                    </a:lnTo>
                    <a:lnTo>
                      <a:pt x="160" y="6"/>
                    </a:lnTo>
                    <a:lnTo>
                      <a:pt x="160" y="0"/>
                    </a:lnTo>
                    <a:lnTo>
                      <a:pt x="243" y="0"/>
                    </a:lnTo>
                    <a:lnTo>
                      <a:pt x="243" y="6"/>
                    </a:lnTo>
                    <a:lnTo>
                      <a:pt x="243" y="20"/>
                    </a:lnTo>
                    <a:lnTo>
                      <a:pt x="243" y="38"/>
                    </a:lnTo>
                    <a:lnTo>
                      <a:pt x="243" y="59"/>
                    </a:lnTo>
                    <a:lnTo>
                      <a:pt x="243" y="79"/>
                    </a:lnTo>
                    <a:lnTo>
                      <a:pt x="243" y="94"/>
                    </a:lnTo>
                    <a:lnTo>
                      <a:pt x="240" y="113"/>
                    </a:lnTo>
                    <a:lnTo>
                      <a:pt x="231" y="130"/>
                    </a:lnTo>
                    <a:lnTo>
                      <a:pt x="217" y="143"/>
                    </a:lnTo>
                    <a:lnTo>
                      <a:pt x="198" y="154"/>
                    </a:lnTo>
                    <a:lnTo>
                      <a:pt x="175" y="162"/>
                    </a:lnTo>
                    <a:lnTo>
                      <a:pt x="149" y="166"/>
                    </a:lnTo>
                    <a:lnTo>
                      <a:pt x="121" y="168"/>
                    </a:lnTo>
                    <a:lnTo>
                      <a:pt x="92" y="166"/>
                    </a:lnTo>
                    <a:lnTo>
                      <a:pt x="66" y="162"/>
                    </a:lnTo>
                    <a:lnTo>
                      <a:pt x="44" y="154"/>
                    </a:lnTo>
                    <a:lnTo>
                      <a:pt x="26" y="143"/>
                    </a:lnTo>
                    <a:lnTo>
                      <a:pt x="12" y="130"/>
                    </a:lnTo>
                    <a:lnTo>
                      <a:pt x="3" y="113"/>
                    </a:lnTo>
                    <a:lnTo>
                      <a:pt x="0" y="9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8">
                <a:extLst>
                  <a:ext uri="{FF2B5EF4-FFF2-40B4-BE49-F238E27FC236}">
                    <a16:creationId xmlns:a16="http://schemas.microsoft.com/office/drawing/2014/main" id="{510F904C-B000-4A21-8C23-B64C55DAAF1F}"/>
                  </a:ext>
                </a:extLst>
              </p:cNvPr>
              <p:cNvSpPr>
                <a:spLocks/>
              </p:cNvSpPr>
              <p:nvPr userDrawn="1"/>
            </p:nvSpPr>
            <p:spPr bwMode="auto">
              <a:xfrm>
                <a:off x="8032750" y="2595563"/>
                <a:ext cx="371475" cy="269875"/>
              </a:xfrm>
              <a:custGeom>
                <a:avLst/>
                <a:gdLst>
                  <a:gd name="T0" fmla="*/ 149 w 234"/>
                  <a:gd name="T1" fmla="*/ 1 h 170"/>
                  <a:gd name="T2" fmla="*/ 201 w 234"/>
                  <a:gd name="T3" fmla="*/ 13 h 170"/>
                  <a:gd name="T4" fmla="*/ 190 w 234"/>
                  <a:gd name="T5" fmla="*/ 44 h 170"/>
                  <a:gd name="T6" fmla="*/ 154 w 234"/>
                  <a:gd name="T7" fmla="*/ 30 h 170"/>
                  <a:gd name="T8" fmla="*/ 119 w 234"/>
                  <a:gd name="T9" fmla="*/ 26 h 170"/>
                  <a:gd name="T10" fmla="*/ 92 w 234"/>
                  <a:gd name="T11" fmla="*/ 27 h 170"/>
                  <a:gd name="T12" fmla="*/ 78 w 234"/>
                  <a:gd name="T13" fmla="*/ 38 h 170"/>
                  <a:gd name="T14" fmla="*/ 90 w 234"/>
                  <a:gd name="T15" fmla="*/ 48 h 170"/>
                  <a:gd name="T16" fmla="*/ 122 w 234"/>
                  <a:gd name="T17" fmla="*/ 56 h 170"/>
                  <a:gd name="T18" fmla="*/ 161 w 234"/>
                  <a:gd name="T19" fmla="*/ 63 h 170"/>
                  <a:gd name="T20" fmla="*/ 196 w 234"/>
                  <a:gd name="T21" fmla="*/ 72 h 170"/>
                  <a:gd name="T22" fmla="*/ 223 w 234"/>
                  <a:gd name="T23" fmla="*/ 89 h 170"/>
                  <a:gd name="T24" fmla="*/ 234 w 234"/>
                  <a:gd name="T25" fmla="*/ 114 h 170"/>
                  <a:gd name="T26" fmla="*/ 222 w 234"/>
                  <a:gd name="T27" fmla="*/ 143 h 170"/>
                  <a:gd name="T28" fmla="*/ 187 w 234"/>
                  <a:gd name="T29" fmla="*/ 161 h 170"/>
                  <a:gd name="T30" fmla="*/ 140 w 234"/>
                  <a:gd name="T31" fmla="*/ 169 h 170"/>
                  <a:gd name="T32" fmla="*/ 81 w 234"/>
                  <a:gd name="T33" fmla="*/ 169 h 170"/>
                  <a:gd name="T34" fmla="*/ 30 w 234"/>
                  <a:gd name="T35" fmla="*/ 155 h 170"/>
                  <a:gd name="T36" fmla="*/ 0 w 234"/>
                  <a:gd name="T37" fmla="*/ 138 h 170"/>
                  <a:gd name="T38" fmla="*/ 48 w 234"/>
                  <a:gd name="T39" fmla="*/ 128 h 170"/>
                  <a:gd name="T40" fmla="*/ 92 w 234"/>
                  <a:gd name="T41" fmla="*/ 141 h 170"/>
                  <a:gd name="T42" fmla="*/ 124 w 234"/>
                  <a:gd name="T43" fmla="*/ 144 h 170"/>
                  <a:gd name="T44" fmla="*/ 145 w 234"/>
                  <a:gd name="T45" fmla="*/ 141 h 170"/>
                  <a:gd name="T46" fmla="*/ 155 w 234"/>
                  <a:gd name="T47" fmla="*/ 132 h 170"/>
                  <a:gd name="T48" fmla="*/ 142 w 234"/>
                  <a:gd name="T49" fmla="*/ 120 h 170"/>
                  <a:gd name="T50" fmla="*/ 110 w 234"/>
                  <a:gd name="T51" fmla="*/ 111 h 170"/>
                  <a:gd name="T52" fmla="*/ 75 w 234"/>
                  <a:gd name="T53" fmla="*/ 105 h 170"/>
                  <a:gd name="T54" fmla="*/ 44 w 234"/>
                  <a:gd name="T55" fmla="*/ 96 h 170"/>
                  <a:gd name="T56" fmla="*/ 16 w 234"/>
                  <a:gd name="T57" fmla="*/ 81 h 170"/>
                  <a:gd name="T58" fmla="*/ 4 w 234"/>
                  <a:gd name="T59" fmla="*/ 56 h 170"/>
                  <a:gd name="T60" fmla="*/ 16 w 234"/>
                  <a:gd name="T61" fmla="*/ 29 h 170"/>
                  <a:gd name="T62" fmla="*/ 45 w 234"/>
                  <a:gd name="T63" fmla="*/ 10 h 170"/>
                  <a:gd name="T64" fmla="*/ 81 w 234"/>
                  <a:gd name="T65" fmla="*/ 3 h 170"/>
                  <a:gd name="T66" fmla="*/ 118 w 234"/>
                  <a:gd name="T6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0">
                    <a:moveTo>
                      <a:pt x="118" y="0"/>
                    </a:moveTo>
                    <a:lnTo>
                      <a:pt x="149" y="1"/>
                    </a:lnTo>
                    <a:lnTo>
                      <a:pt x="176" y="6"/>
                    </a:lnTo>
                    <a:lnTo>
                      <a:pt x="201" y="13"/>
                    </a:lnTo>
                    <a:lnTo>
                      <a:pt x="222" y="26"/>
                    </a:lnTo>
                    <a:lnTo>
                      <a:pt x="190" y="44"/>
                    </a:lnTo>
                    <a:lnTo>
                      <a:pt x="173" y="36"/>
                    </a:lnTo>
                    <a:lnTo>
                      <a:pt x="154" y="30"/>
                    </a:lnTo>
                    <a:lnTo>
                      <a:pt x="136" y="26"/>
                    </a:lnTo>
                    <a:lnTo>
                      <a:pt x="119" y="26"/>
                    </a:lnTo>
                    <a:lnTo>
                      <a:pt x="106" y="26"/>
                    </a:lnTo>
                    <a:lnTo>
                      <a:pt x="92" y="27"/>
                    </a:lnTo>
                    <a:lnTo>
                      <a:pt x="83" y="32"/>
                    </a:lnTo>
                    <a:lnTo>
                      <a:pt x="78" y="38"/>
                    </a:lnTo>
                    <a:lnTo>
                      <a:pt x="81" y="44"/>
                    </a:lnTo>
                    <a:lnTo>
                      <a:pt x="90" y="48"/>
                    </a:lnTo>
                    <a:lnTo>
                      <a:pt x="104" y="51"/>
                    </a:lnTo>
                    <a:lnTo>
                      <a:pt x="122" y="56"/>
                    </a:lnTo>
                    <a:lnTo>
                      <a:pt x="145" y="59"/>
                    </a:lnTo>
                    <a:lnTo>
                      <a:pt x="161" y="63"/>
                    </a:lnTo>
                    <a:lnTo>
                      <a:pt x="180" y="68"/>
                    </a:lnTo>
                    <a:lnTo>
                      <a:pt x="196" y="72"/>
                    </a:lnTo>
                    <a:lnTo>
                      <a:pt x="211" y="80"/>
                    </a:lnTo>
                    <a:lnTo>
                      <a:pt x="223" y="89"/>
                    </a:lnTo>
                    <a:lnTo>
                      <a:pt x="231" y="101"/>
                    </a:lnTo>
                    <a:lnTo>
                      <a:pt x="234" y="114"/>
                    </a:lnTo>
                    <a:lnTo>
                      <a:pt x="231" y="129"/>
                    </a:lnTo>
                    <a:lnTo>
                      <a:pt x="222" y="143"/>
                    </a:lnTo>
                    <a:lnTo>
                      <a:pt x="207" y="154"/>
                    </a:lnTo>
                    <a:lnTo>
                      <a:pt x="187" y="161"/>
                    </a:lnTo>
                    <a:lnTo>
                      <a:pt x="166" y="166"/>
                    </a:lnTo>
                    <a:lnTo>
                      <a:pt x="140" y="169"/>
                    </a:lnTo>
                    <a:lnTo>
                      <a:pt x="115" y="170"/>
                    </a:lnTo>
                    <a:lnTo>
                      <a:pt x="81" y="169"/>
                    </a:lnTo>
                    <a:lnTo>
                      <a:pt x="53" y="163"/>
                    </a:lnTo>
                    <a:lnTo>
                      <a:pt x="30" y="155"/>
                    </a:lnTo>
                    <a:lnTo>
                      <a:pt x="12" y="146"/>
                    </a:lnTo>
                    <a:lnTo>
                      <a:pt x="0" y="138"/>
                    </a:lnTo>
                    <a:lnTo>
                      <a:pt x="33" y="119"/>
                    </a:lnTo>
                    <a:lnTo>
                      <a:pt x="48" y="128"/>
                    </a:lnTo>
                    <a:lnTo>
                      <a:pt x="69" y="135"/>
                    </a:lnTo>
                    <a:lnTo>
                      <a:pt x="92" y="141"/>
                    </a:lnTo>
                    <a:lnTo>
                      <a:pt x="115" y="144"/>
                    </a:lnTo>
                    <a:lnTo>
                      <a:pt x="124" y="144"/>
                    </a:lnTo>
                    <a:lnTo>
                      <a:pt x="134" y="143"/>
                    </a:lnTo>
                    <a:lnTo>
                      <a:pt x="145" y="141"/>
                    </a:lnTo>
                    <a:lnTo>
                      <a:pt x="152" y="138"/>
                    </a:lnTo>
                    <a:lnTo>
                      <a:pt x="155" y="132"/>
                    </a:lnTo>
                    <a:lnTo>
                      <a:pt x="152" y="125"/>
                    </a:lnTo>
                    <a:lnTo>
                      <a:pt x="142" y="120"/>
                    </a:lnTo>
                    <a:lnTo>
                      <a:pt x="128" y="116"/>
                    </a:lnTo>
                    <a:lnTo>
                      <a:pt x="110" y="111"/>
                    </a:lnTo>
                    <a:lnTo>
                      <a:pt x="90" y="108"/>
                    </a:lnTo>
                    <a:lnTo>
                      <a:pt x="75" y="105"/>
                    </a:lnTo>
                    <a:lnTo>
                      <a:pt x="60" y="101"/>
                    </a:lnTo>
                    <a:lnTo>
                      <a:pt x="44" y="96"/>
                    </a:lnTo>
                    <a:lnTo>
                      <a:pt x="28" y="90"/>
                    </a:lnTo>
                    <a:lnTo>
                      <a:pt x="16" y="81"/>
                    </a:lnTo>
                    <a:lnTo>
                      <a:pt x="9" y="69"/>
                    </a:lnTo>
                    <a:lnTo>
                      <a:pt x="4" y="56"/>
                    </a:lnTo>
                    <a:lnTo>
                      <a:pt x="7" y="41"/>
                    </a:lnTo>
                    <a:lnTo>
                      <a:pt x="16" y="29"/>
                    </a:lnTo>
                    <a:lnTo>
                      <a:pt x="28" y="18"/>
                    </a:lnTo>
                    <a:lnTo>
                      <a:pt x="45" y="10"/>
                    </a:lnTo>
                    <a:lnTo>
                      <a:pt x="62" y="6"/>
                    </a:lnTo>
                    <a:lnTo>
                      <a:pt x="81" y="3"/>
                    </a:lnTo>
                    <a:lnTo>
                      <a:pt x="101" y="0"/>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9">
                <a:extLst>
                  <a:ext uri="{FF2B5EF4-FFF2-40B4-BE49-F238E27FC236}">
                    <a16:creationId xmlns:a16="http://schemas.microsoft.com/office/drawing/2014/main" id="{56FD33D9-8FB7-4652-8779-F43F528572BC}"/>
                  </a:ext>
                </a:extLst>
              </p:cNvPr>
              <p:cNvSpPr>
                <a:spLocks/>
              </p:cNvSpPr>
              <p:nvPr userDrawn="1"/>
            </p:nvSpPr>
            <p:spPr bwMode="auto">
              <a:xfrm>
                <a:off x="8432800" y="2601913"/>
                <a:ext cx="355600" cy="254000"/>
              </a:xfrm>
              <a:custGeom>
                <a:avLst/>
                <a:gdLst>
                  <a:gd name="T0" fmla="*/ 17 w 224"/>
                  <a:gd name="T1" fmla="*/ 0 h 160"/>
                  <a:gd name="T2" fmla="*/ 208 w 224"/>
                  <a:gd name="T3" fmla="*/ 0 h 160"/>
                  <a:gd name="T4" fmla="*/ 224 w 224"/>
                  <a:gd name="T5" fmla="*/ 25 h 160"/>
                  <a:gd name="T6" fmla="*/ 224 w 224"/>
                  <a:gd name="T7" fmla="*/ 28 h 160"/>
                  <a:gd name="T8" fmla="*/ 154 w 224"/>
                  <a:gd name="T9" fmla="*/ 28 h 160"/>
                  <a:gd name="T10" fmla="*/ 154 w 224"/>
                  <a:gd name="T11" fmla="*/ 160 h 160"/>
                  <a:gd name="T12" fmla="*/ 69 w 224"/>
                  <a:gd name="T13" fmla="*/ 160 h 160"/>
                  <a:gd name="T14" fmla="*/ 69 w 224"/>
                  <a:gd name="T15" fmla="*/ 28 h 160"/>
                  <a:gd name="T16" fmla="*/ 0 w 224"/>
                  <a:gd name="T17" fmla="*/ 28 h 160"/>
                  <a:gd name="T18" fmla="*/ 0 w 224"/>
                  <a:gd name="T19" fmla="*/ 25 h 160"/>
                  <a:gd name="T20" fmla="*/ 17 w 224"/>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60">
                    <a:moveTo>
                      <a:pt x="17" y="0"/>
                    </a:moveTo>
                    <a:lnTo>
                      <a:pt x="208" y="0"/>
                    </a:lnTo>
                    <a:lnTo>
                      <a:pt x="224" y="25"/>
                    </a:lnTo>
                    <a:lnTo>
                      <a:pt x="224" y="28"/>
                    </a:lnTo>
                    <a:lnTo>
                      <a:pt x="154" y="28"/>
                    </a:lnTo>
                    <a:lnTo>
                      <a:pt x="154" y="160"/>
                    </a:lnTo>
                    <a:lnTo>
                      <a:pt x="69" y="160"/>
                    </a:lnTo>
                    <a:lnTo>
                      <a:pt x="69" y="28"/>
                    </a:lnTo>
                    <a:lnTo>
                      <a:pt x="0" y="28"/>
                    </a:lnTo>
                    <a:lnTo>
                      <a:pt x="0" y="25"/>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Rectangle 30">
                <a:extLst>
                  <a:ext uri="{FF2B5EF4-FFF2-40B4-BE49-F238E27FC236}">
                    <a16:creationId xmlns:a16="http://schemas.microsoft.com/office/drawing/2014/main" id="{951935E8-B8C0-4BBF-8FA1-F74E7796A121}"/>
                  </a:ext>
                </a:extLst>
              </p:cNvPr>
              <p:cNvSpPr>
                <a:spLocks noChangeArrowheads="1"/>
              </p:cNvSpPr>
              <p:nvPr userDrawn="1"/>
            </p:nvSpPr>
            <p:spPr bwMode="auto">
              <a:xfrm>
                <a:off x="8855075" y="2601913"/>
                <a:ext cx="131763" cy="25400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31">
                <a:extLst>
                  <a:ext uri="{FF2B5EF4-FFF2-40B4-BE49-F238E27FC236}">
                    <a16:creationId xmlns:a16="http://schemas.microsoft.com/office/drawing/2014/main" id="{9364F204-9405-4B08-AD91-AF57850CAD13}"/>
                  </a:ext>
                </a:extLst>
              </p:cNvPr>
              <p:cNvSpPr>
                <a:spLocks/>
              </p:cNvSpPr>
              <p:nvPr userDrawn="1"/>
            </p:nvSpPr>
            <p:spPr bwMode="auto">
              <a:xfrm>
                <a:off x="9080500" y="2601913"/>
                <a:ext cx="398463" cy="254000"/>
              </a:xfrm>
              <a:custGeom>
                <a:avLst/>
                <a:gdLst>
                  <a:gd name="T0" fmla="*/ 0 w 251"/>
                  <a:gd name="T1" fmla="*/ 0 h 160"/>
                  <a:gd name="T2" fmla="*/ 47 w 251"/>
                  <a:gd name="T3" fmla="*/ 0 h 160"/>
                  <a:gd name="T4" fmla="*/ 198 w 251"/>
                  <a:gd name="T5" fmla="*/ 86 h 160"/>
                  <a:gd name="T6" fmla="*/ 198 w 251"/>
                  <a:gd name="T7" fmla="*/ 0 h 160"/>
                  <a:gd name="T8" fmla="*/ 251 w 251"/>
                  <a:gd name="T9" fmla="*/ 0 h 160"/>
                  <a:gd name="T10" fmla="*/ 251 w 251"/>
                  <a:gd name="T11" fmla="*/ 160 h 160"/>
                  <a:gd name="T12" fmla="*/ 199 w 251"/>
                  <a:gd name="T13" fmla="*/ 160 h 160"/>
                  <a:gd name="T14" fmla="*/ 53 w 251"/>
                  <a:gd name="T15" fmla="*/ 79 h 160"/>
                  <a:gd name="T16" fmla="*/ 53 w 251"/>
                  <a:gd name="T17" fmla="*/ 160 h 160"/>
                  <a:gd name="T18" fmla="*/ 0 w 251"/>
                  <a:gd name="T19" fmla="*/ 160 h 160"/>
                  <a:gd name="T20" fmla="*/ 0 w 251"/>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0">
                    <a:moveTo>
                      <a:pt x="0" y="0"/>
                    </a:moveTo>
                    <a:lnTo>
                      <a:pt x="47" y="0"/>
                    </a:lnTo>
                    <a:lnTo>
                      <a:pt x="198" y="86"/>
                    </a:lnTo>
                    <a:lnTo>
                      <a:pt x="198" y="0"/>
                    </a:lnTo>
                    <a:lnTo>
                      <a:pt x="251" y="0"/>
                    </a:lnTo>
                    <a:lnTo>
                      <a:pt x="251" y="160"/>
                    </a:lnTo>
                    <a:lnTo>
                      <a:pt x="199" y="160"/>
                    </a:lnTo>
                    <a:lnTo>
                      <a:pt x="53" y="79"/>
                    </a:lnTo>
                    <a:lnTo>
                      <a:pt x="53" y="160"/>
                    </a:lnTo>
                    <a:lnTo>
                      <a:pt x="0" y="16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32">
                <a:extLst>
                  <a:ext uri="{FF2B5EF4-FFF2-40B4-BE49-F238E27FC236}">
                    <a16:creationId xmlns:a16="http://schemas.microsoft.com/office/drawing/2014/main" id="{95038DBC-F5B4-4DAD-B6FA-CC508E3E9191}"/>
                  </a:ext>
                </a:extLst>
              </p:cNvPr>
              <p:cNvSpPr>
                <a:spLocks noEditPoints="1"/>
              </p:cNvSpPr>
              <p:nvPr userDrawn="1"/>
            </p:nvSpPr>
            <p:spPr bwMode="auto">
              <a:xfrm>
                <a:off x="6545263" y="1928813"/>
                <a:ext cx="3494088" cy="2012950"/>
              </a:xfrm>
              <a:custGeom>
                <a:avLst/>
                <a:gdLst>
                  <a:gd name="T0" fmla="*/ 200 w 2201"/>
                  <a:gd name="T1" fmla="*/ 30 h 1268"/>
                  <a:gd name="T2" fmla="*/ 623 w 2201"/>
                  <a:gd name="T3" fmla="*/ 190 h 1268"/>
                  <a:gd name="T4" fmla="*/ 410 w 2201"/>
                  <a:gd name="T5" fmla="*/ 268 h 1268"/>
                  <a:gd name="T6" fmla="*/ 198 w 2201"/>
                  <a:gd name="T7" fmla="*/ 376 h 1268"/>
                  <a:gd name="T8" fmla="*/ 25 w 2201"/>
                  <a:gd name="T9" fmla="*/ 560 h 1268"/>
                  <a:gd name="T10" fmla="*/ 97 w 2201"/>
                  <a:gd name="T11" fmla="*/ 751 h 1268"/>
                  <a:gd name="T12" fmla="*/ 383 w 2201"/>
                  <a:gd name="T13" fmla="*/ 903 h 1268"/>
                  <a:gd name="T14" fmla="*/ 821 w 2201"/>
                  <a:gd name="T15" fmla="*/ 994 h 1268"/>
                  <a:gd name="T16" fmla="*/ 1274 w 2201"/>
                  <a:gd name="T17" fmla="*/ 1003 h 1268"/>
                  <a:gd name="T18" fmla="*/ 1284 w 2201"/>
                  <a:gd name="T19" fmla="*/ 1016 h 1268"/>
                  <a:gd name="T20" fmla="*/ 1100 w 2201"/>
                  <a:gd name="T21" fmla="*/ 1028 h 1268"/>
                  <a:gd name="T22" fmla="*/ 1265 w 2201"/>
                  <a:gd name="T23" fmla="*/ 1076 h 1268"/>
                  <a:gd name="T24" fmla="*/ 1526 w 2201"/>
                  <a:gd name="T25" fmla="*/ 1152 h 1268"/>
                  <a:gd name="T26" fmla="*/ 1754 w 2201"/>
                  <a:gd name="T27" fmla="*/ 1218 h 1268"/>
                  <a:gd name="T28" fmla="*/ 1854 w 2201"/>
                  <a:gd name="T29" fmla="*/ 1247 h 1268"/>
                  <a:gd name="T30" fmla="*/ 1869 w 2201"/>
                  <a:gd name="T31" fmla="*/ 1242 h 1268"/>
                  <a:gd name="T32" fmla="*/ 1867 w 2201"/>
                  <a:gd name="T33" fmla="*/ 1224 h 1268"/>
                  <a:gd name="T34" fmla="*/ 1627 w 2201"/>
                  <a:gd name="T35" fmla="*/ 1003 h 1268"/>
                  <a:gd name="T36" fmla="*/ 1790 w 2201"/>
                  <a:gd name="T37" fmla="*/ 914 h 1268"/>
                  <a:gd name="T38" fmla="*/ 2100 w 2201"/>
                  <a:gd name="T39" fmla="*/ 754 h 1268"/>
                  <a:gd name="T40" fmla="*/ 2175 w 2201"/>
                  <a:gd name="T41" fmla="*/ 558 h 1268"/>
                  <a:gd name="T42" fmla="*/ 2005 w 2201"/>
                  <a:gd name="T43" fmla="*/ 376 h 1268"/>
                  <a:gd name="T44" fmla="*/ 1636 w 2201"/>
                  <a:gd name="T45" fmla="*/ 245 h 1268"/>
                  <a:gd name="T46" fmla="*/ 1240 w 2201"/>
                  <a:gd name="T47" fmla="*/ 194 h 1268"/>
                  <a:gd name="T48" fmla="*/ 984 w 2201"/>
                  <a:gd name="T49" fmla="*/ 191 h 1268"/>
                  <a:gd name="T50" fmla="*/ 985 w 2201"/>
                  <a:gd name="T51" fmla="*/ 174 h 1268"/>
                  <a:gd name="T52" fmla="*/ 1095 w 2201"/>
                  <a:gd name="T53" fmla="*/ 150 h 1268"/>
                  <a:gd name="T54" fmla="*/ 885 w 2201"/>
                  <a:gd name="T55" fmla="*/ 84 h 1268"/>
                  <a:gd name="T56" fmla="*/ 713 w 2201"/>
                  <a:gd name="T57" fmla="*/ 31 h 1268"/>
                  <a:gd name="T58" fmla="*/ 210 w 2201"/>
                  <a:gd name="T59" fmla="*/ 19 h 1268"/>
                  <a:gd name="T60" fmla="*/ 1240 w 2201"/>
                  <a:gd name="T61" fmla="*/ 174 h 1268"/>
                  <a:gd name="T62" fmla="*/ 1754 w 2201"/>
                  <a:gd name="T63" fmla="*/ 254 h 1268"/>
                  <a:gd name="T64" fmla="*/ 2089 w 2201"/>
                  <a:gd name="T65" fmla="*/ 409 h 1268"/>
                  <a:gd name="T66" fmla="*/ 2201 w 2201"/>
                  <a:gd name="T67" fmla="*/ 599 h 1268"/>
                  <a:gd name="T68" fmla="*/ 2121 w 2201"/>
                  <a:gd name="T69" fmla="*/ 760 h 1268"/>
                  <a:gd name="T70" fmla="*/ 1819 w 2201"/>
                  <a:gd name="T71" fmla="*/ 924 h 1268"/>
                  <a:gd name="T72" fmla="*/ 1699 w 2201"/>
                  <a:gd name="T73" fmla="*/ 1009 h 1268"/>
                  <a:gd name="T74" fmla="*/ 1613 w 2201"/>
                  <a:gd name="T75" fmla="*/ 1075 h 1268"/>
                  <a:gd name="T76" fmla="*/ 1769 w 2201"/>
                  <a:gd name="T77" fmla="*/ 1152 h 1268"/>
                  <a:gd name="T78" fmla="*/ 1869 w 2201"/>
                  <a:gd name="T79" fmla="*/ 1201 h 1268"/>
                  <a:gd name="T80" fmla="*/ 1891 w 2201"/>
                  <a:gd name="T81" fmla="*/ 1242 h 1268"/>
                  <a:gd name="T82" fmla="*/ 1857 w 2201"/>
                  <a:gd name="T83" fmla="*/ 1268 h 1268"/>
                  <a:gd name="T84" fmla="*/ 907 w 2201"/>
                  <a:gd name="T85" fmla="*/ 1021 h 1268"/>
                  <a:gd name="T86" fmla="*/ 387 w 2201"/>
                  <a:gd name="T87" fmla="*/ 926 h 1268"/>
                  <a:gd name="T88" fmla="*/ 77 w 2201"/>
                  <a:gd name="T89" fmla="*/ 759 h 1268"/>
                  <a:gd name="T90" fmla="*/ 5 w 2201"/>
                  <a:gd name="T91" fmla="*/ 558 h 1268"/>
                  <a:gd name="T92" fmla="*/ 173 w 2201"/>
                  <a:gd name="T93" fmla="*/ 369 h 1268"/>
                  <a:gd name="T94" fmla="*/ 296 w 2201"/>
                  <a:gd name="T95" fmla="*/ 248 h 1268"/>
                  <a:gd name="T96" fmla="*/ 523 w 2201"/>
                  <a:gd name="T97" fmla="*/ 174 h 1268"/>
                  <a:gd name="T98" fmla="*/ 369 w 2201"/>
                  <a:gd name="T99" fmla="*/ 120 h 1268"/>
                  <a:gd name="T100" fmla="*/ 230 w 2201"/>
                  <a:gd name="T101" fmla="*/ 71 h 1268"/>
                  <a:gd name="T102" fmla="*/ 182 w 2201"/>
                  <a:gd name="T103" fmla="*/ 4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1" h="1268">
                    <a:moveTo>
                      <a:pt x="210" y="19"/>
                    </a:moveTo>
                    <a:lnTo>
                      <a:pt x="206" y="21"/>
                    </a:lnTo>
                    <a:lnTo>
                      <a:pt x="203" y="22"/>
                    </a:lnTo>
                    <a:lnTo>
                      <a:pt x="200" y="25"/>
                    </a:lnTo>
                    <a:lnTo>
                      <a:pt x="200" y="30"/>
                    </a:lnTo>
                    <a:lnTo>
                      <a:pt x="200" y="34"/>
                    </a:lnTo>
                    <a:lnTo>
                      <a:pt x="203" y="37"/>
                    </a:lnTo>
                    <a:lnTo>
                      <a:pt x="206" y="40"/>
                    </a:lnTo>
                    <a:lnTo>
                      <a:pt x="586" y="176"/>
                    </a:lnTo>
                    <a:lnTo>
                      <a:pt x="623" y="190"/>
                    </a:lnTo>
                    <a:lnTo>
                      <a:pt x="585" y="196"/>
                    </a:lnTo>
                    <a:lnTo>
                      <a:pt x="506" y="211"/>
                    </a:lnTo>
                    <a:lnTo>
                      <a:pt x="431" y="229"/>
                    </a:lnTo>
                    <a:lnTo>
                      <a:pt x="360" y="250"/>
                    </a:lnTo>
                    <a:lnTo>
                      <a:pt x="410" y="268"/>
                    </a:lnTo>
                    <a:lnTo>
                      <a:pt x="438" y="277"/>
                    </a:lnTo>
                    <a:lnTo>
                      <a:pt x="410" y="286"/>
                    </a:lnTo>
                    <a:lnTo>
                      <a:pt x="331" y="313"/>
                    </a:lnTo>
                    <a:lnTo>
                      <a:pt x="260" y="343"/>
                    </a:lnTo>
                    <a:lnTo>
                      <a:pt x="198" y="376"/>
                    </a:lnTo>
                    <a:lnTo>
                      <a:pt x="145" y="409"/>
                    </a:lnTo>
                    <a:lnTo>
                      <a:pt x="102" y="446"/>
                    </a:lnTo>
                    <a:lnTo>
                      <a:pt x="65" y="482"/>
                    </a:lnTo>
                    <a:lnTo>
                      <a:pt x="41" y="521"/>
                    </a:lnTo>
                    <a:lnTo>
                      <a:pt x="25" y="560"/>
                    </a:lnTo>
                    <a:lnTo>
                      <a:pt x="20" y="599"/>
                    </a:lnTo>
                    <a:lnTo>
                      <a:pt x="25" y="640"/>
                    </a:lnTo>
                    <a:lnTo>
                      <a:pt x="40" y="677"/>
                    </a:lnTo>
                    <a:lnTo>
                      <a:pt x="64" y="715"/>
                    </a:lnTo>
                    <a:lnTo>
                      <a:pt x="97" y="751"/>
                    </a:lnTo>
                    <a:lnTo>
                      <a:pt x="139" y="786"/>
                    </a:lnTo>
                    <a:lnTo>
                      <a:pt x="189" y="819"/>
                    </a:lnTo>
                    <a:lnTo>
                      <a:pt x="247" y="849"/>
                    </a:lnTo>
                    <a:lnTo>
                      <a:pt x="312" y="878"/>
                    </a:lnTo>
                    <a:lnTo>
                      <a:pt x="383" y="903"/>
                    </a:lnTo>
                    <a:lnTo>
                      <a:pt x="460" y="927"/>
                    </a:lnTo>
                    <a:lnTo>
                      <a:pt x="543" y="948"/>
                    </a:lnTo>
                    <a:lnTo>
                      <a:pt x="630" y="967"/>
                    </a:lnTo>
                    <a:lnTo>
                      <a:pt x="722" y="982"/>
                    </a:lnTo>
                    <a:lnTo>
                      <a:pt x="821" y="994"/>
                    </a:lnTo>
                    <a:lnTo>
                      <a:pt x="920" y="1003"/>
                    </a:lnTo>
                    <a:lnTo>
                      <a:pt x="1024" y="1007"/>
                    </a:lnTo>
                    <a:lnTo>
                      <a:pt x="1100" y="1007"/>
                    </a:lnTo>
                    <a:lnTo>
                      <a:pt x="1188" y="1006"/>
                    </a:lnTo>
                    <a:lnTo>
                      <a:pt x="1274" y="1003"/>
                    </a:lnTo>
                    <a:lnTo>
                      <a:pt x="1278" y="1003"/>
                    </a:lnTo>
                    <a:lnTo>
                      <a:pt x="1281" y="1006"/>
                    </a:lnTo>
                    <a:lnTo>
                      <a:pt x="1284" y="1009"/>
                    </a:lnTo>
                    <a:lnTo>
                      <a:pt x="1284" y="1012"/>
                    </a:lnTo>
                    <a:lnTo>
                      <a:pt x="1284" y="1016"/>
                    </a:lnTo>
                    <a:lnTo>
                      <a:pt x="1283" y="1019"/>
                    </a:lnTo>
                    <a:lnTo>
                      <a:pt x="1280" y="1021"/>
                    </a:lnTo>
                    <a:lnTo>
                      <a:pt x="1275" y="1022"/>
                    </a:lnTo>
                    <a:lnTo>
                      <a:pt x="1189" y="1027"/>
                    </a:lnTo>
                    <a:lnTo>
                      <a:pt x="1100" y="1028"/>
                    </a:lnTo>
                    <a:lnTo>
                      <a:pt x="1100" y="1028"/>
                    </a:lnTo>
                    <a:lnTo>
                      <a:pt x="1133" y="1037"/>
                    </a:lnTo>
                    <a:lnTo>
                      <a:pt x="1172" y="1049"/>
                    </a:lnTo>
                    <a:lnTo>
                      <a:pt x="1216" y="1061"/>
                    </a:lnTo>
                    <a:lnTo>
                      <a:pt x="1265" y="1076"/>
                    </a:lnTo>
                    <a:lnTo>
                      <a:pt x="1314" y="1090"/>
                    </a:lnTo>
                    <a:lnTo>
                      <a:pt x="1366" y="1105"/>
                    </a:lnTo>
                    <a:lnTo>
                      <a:pt x="1419" y="1120"/>
                    </a:lnTo>
                    <a:lnTo>
                      <a:pt x="1473" y="1137"/>
                    </a:lnTo>
                    <a:lnTo>
                      <a:pt x="1526" y="1152"/>
                    </a:lnTo>
                    <a:lnTo>
                      <a:pt x="1577" y="1167"/>
                    </a:lnTo>
                    <a:lnTo>
                      <a:pt x="1625" y="1182"/>
                    </a:lnTo>
                    <a:lnTo>
                      <a:pt x="1672" y="1195"/>
                    </a:lnTo>
                    <a:lnTo>
                      <a:pt x="1716" y="1207"/>
                    </a:lnTo>
                    <a:lnTo>
                      <a:pt x="1754" y="1218"/>
                    </a:lnTo>
                    <a:lnTo>
                      <a:pt x="1789" y="1229"/>
                    </a:lnTo>
                    <a:lnTo>
                      <a:pt x="1816" y="1236"/>
                    </a:lnTo>
                    <a:lnTo>
                      <a:pt x="1835" y="1242"/>
                    </a:lnTo>
                    <a:lnTo>
                      <a:pt x="1849" y="1247"/>
                    </a:lnTo>
                    <a:lnTo>
                      <a:pt x="1854" y="1247"/>
                    </a:lnTo>
                    <a:lnTo>
                      <a:pt x="1857" y="1248"/>
                    </a:lnTo>
                    <a:lnTo>
                      <a:pt x="1861" y="1248"/>
                    </a:lnTo>
                    <a:lnTo>
                      <a:pt x="1864" y="1247"/>
                    </a:lnTo>
                    <a:lnTo>
                      <a:pt x="1867" y="1244"/>
                    </a:lnTo>
                    <a:lnTo>
                      <a:pt x="1869" y="1242"/>
                    </a:lnTo>
                    <a:lnTo>
                      <a:pt x="1870" y="1238"/>
                    </a:lnTo>
                    <a:lnTo>
                      <a:pt x="1872" y="1235"/>
                    </a:lnTo>
                    <a:lnTo>
                      <a:pt x="1872" y="1230"/>
                    </a:lnTo>
                    <a:lnTo>
                      <a:pt x="1869" y="1227"/>
                    </a:lnTo>
                    <a:lnTo>
                      <a:pt x="1867" y="1224"/>
                    </a:lnTo>
                    <a:lnTo>
                      <a:pt x="1864" y="1221"/>
                    </a:lnTo>
                    <a:lnTo>
                      <a:pt x="1502" y="1042"/>
                    </a:lnTo>
                    <a:lnTo>
                      <a:pt x="1471" y="1028"/>
                    </a:lnTo>
                    <a:lnTo>
                      <a:pt x="1505" y="1024"/>
                    </a:lnTo>
                    <a:lnTo>
                      <a:pt x="1627" y="1003"/>
                    </a:lnTo>
                    <a:lnTo>
                      <a:pt x="1745" y="979"/>
                    </a:lnTo>
                    <a:lnTo>
                      <a:pt x="1701" y="956"/>
                    </a:lnTo>
                    <a:lnTo>
                      <a:pt x="1677" y="944"/>
                    </a:lnTo>
                    <a:lnTo>
                      <a:pt x="1704" y="938"/>
                    </a:lnTo>
                    <a:lnTo>
                      <a:pt x="1790" y="914"/>
                    </a:lnTo>
                    <a:lnTo>
                      <a:pt x="1869" y="885"/>
                    </a:lnTo>
                    <a:lnTo>
                      <a:pt x="1938" y="857"/>
                    </a:lnTo>
                    <a:lnTo>
                      <a:pt x="2002" y="825"/>
                    </a:lnTo>
                    <a:lnTo>
                      <a:pt x="2054" y="790"/>
                    </a:lnTo>
                    <a:lnTo>
                      <a:pt x="2100" y="754"/>
                    </a:lnTo>
                    <a:lnTo>
                      <a:pt x="2134" y="718"/>
                    </a:lnTo>
                    <a:lnTo>
                      <a:pt x="2160" y="679"/>
                    </a:lnTo>
                    <a:lnTo>
                      <a:pt x="2175" y="640"/>
                    </a:lnTo>
                    <a:lnTo>
                      <a:pt x="2181" y="599"/>
                    </a:lnTo>
                    <a:lnTo>
                      <a:pt x="2175" y="558"/>
                    </a:lnTo>
                    <a:lnTo>
                      <a:pt x="2160" y="519"/>
                    </a:lnTo>
                    <a:lnTo>
                      <a:pt x="2134" y="482"/>
                    </a:lnTo>
                    <a:lnTo>
                      <a:pt x="2100" y="444"/>
                    </a:lnTo>
                    <a:lnTo>
                      <a:pt x="2056" y="409"/>
                    </a:lnTo>
                    <a:lnTo>
                      <a:pt x="2005" y="376"/>
                    </a:lnTo>
                    <a:lnTo>
                      <a:pt x="1944" y="345"/>
                    </a:lnTo>
                    <a:lnTo>
                      <a:pt x="1878" y="316"/>
                    </a:lnTo>
                    <a:lnTo>
                      <a:pt x="1804" y="289"/>
                    </a:lnTo>
                    <a:lnTo>
                      <a:pt x="1722" y="266"/>
                    </a:lnTo>
                    <a:lnTo>
                      <a:pt x="1636" y="245"/>
                    </a:lnTo>
                    <a:lnTo>
                      <a:pt x="1544" y="227"/>
                    </a:lnTo>
                    <a:lnTo>
                      <a:pt x="1447" y="212"/>
                    </a:lnTo>
                    <a:lnTo>
                      <a:pt x="1346" y="202"/>
                    </a:lnTo>
                    <a:lnTo>
                      <a:pt x="1240" y="194"/>
                    </a:lnTo>
                    <a:lnTo>
                      <a:pt x="1240" y="194"/>
                    </a:lnTo>
                    <a:lnTo>
                      <a:pt x="1171" y="193"/>
                    </a:lnTo>
                    <a:lnTo>
                      <a:pt x="1100" y="191"/>
                    </a:lnTo>
                    <a:lnTo>
                      <a:pt x="990" y="194"/>
                    </a:lnTo>
                    <a:lnTo>
                      <a:pt x="987" y="193"/>
                    </a:lnTo>
                    <a:lnTo>
                      <a:pt x="984" y="191"/>
                    </a:lnTo>
                    <a:lnTo>
                      <a:pt x="981" y="188"/>
                    </a:lnTo>
                    <a:lnTo>
                      <a:pt x="979" y="184"/>
                    </a:lnTo>
                    <a:lnTo>
                      <a:pt x="981" y="180"/>
                    </a:lnTo>
                    <a:lnTo>
                      <a:pt x="982" y="176"/>
                    </a:lnTo>
                    <a:lnTo>
                      <a:pt x="985" y="174"/>
                    </a:lnTo>
                    <a:lnTo>
                      <a:pt x="990" y="173"/>
                    </a:lnTo>
                    <a:lnTo>
                      <a:pt x="1100" y="171"/>
                    </a:lnTo>
                    <a:lnTo>
                      <a:pt x="1165" y="171"/>
                    </a:lnTo>
                    <a:lnTo>
                      <a:pt x="1132" y="162"/>
                    </a:lnTo>
                    <a:lnTo>
                      <a:pt x="1095" y="150"/>
                    </a:lnTo>
                    <a:lnTo>
                      <a:pt x="1056" y="138"/>
                    </a:lnTo>
                    <a:lnTo>
                      <a:pt x="1014" y="125"/>
                    </a:lnTo>
                    <a:lnTo>
                      <a:pt x="972" y="111"/>
                    </a:lnTo>
                    <a:lnTo>
                      <a:pt x="928" y="98"/>
                    </a:lnTo>
                    <a:lnTo>
                      <a:pt x="885" y="84"/>
                    </a:lnTo>
                    <a:lnTo>
                      <a:pt x="843" y="72"/>
                    </a:lnTo>
                    <a:lnTo>
                      <a:pt x="805" y="60"/>
                    </a:lnTo>
                    <a:lnTo>
                      <a:pt x="769" y="49"/>
                    </a:lnTo>
                    <a:lnTo>
                      <a:pt x="739" y="39"/>
                    </a:lnTo>
                    <a:lnTo>
                      <a:pt x="713" y="31"/>
                    </a:lnTo>
                    <a:lnTo>
                      <a:pt x="694" y="25"/>
                    </a:lnTo>
                    <a:lnTo>
                      <a:pt x="682" y="21"/>
                    </a:lnTo>
                    <a:lnTo>
                      <a:pt x="677" y="19"/>
                    </a:lnTo>
                    <a:lnTo>
                      <a:pt x="672" y="19"/>
                    </a:lnTo>
                    <a:lnTo>
                      <a:pt x="210" y="19"/>
                    </a:lnTo>
                    <a:close/>
                    <a:moveTo>
                      <a:pt x="210" y="0"/>
                    </a:moveTo>
                    <a:lnTo>
                      <a:pt x="672" y="0"/>
                    </a:lnTo>
                    <a:lnTo>
                      <a:pt x="679" y="0"/>
                    </a:lnTo>
                    <a:lnTo>
                      <a:pt x="683" y="1"/>
                    </a:lnTo>
                    <a:lnTo>
                      <a:pt x="1240" y="174"/>
                    </a:lnTo>
                    <a:lnTo>
                      <a:pt x="1352" y="182"/>
                    </a:lnTo>
                    <a:lnTo>
                      <a:pt x="1459" y="194"/>
                    </a:lnTo>
                    <a:lnTo>
                      <a:pt x="1562" y="211"/>
                    </a:lnTo>
                    <a:lnTo>
                      <a:pt x="1662" y="230"/>
                    </a:lnTo>
                    <a:lnTo>
                      <a:pt x="1754" y="254"/>
                    </a:lnTo>
                    <a:lnTo>
                      <a:pt x="1841" y="281"/>
                    </a:lnTo>
                    <a:lnTo>
                      <a:pt x="1920" y="313"/>
                    </a:lnTo>
                    <a:lnTo>
                      <a:pt x="1985" y="343"/>
                    </a:lnTo>
                    <a:lnTo>
                      <a:pt x="2041" y="376"/>
                    </a:lnTo>
                    <a:lnTo>
                      <a:pt x="2089" y="409"/>
                    </a:lnTo>
                    <a:lnTo>
                      <a:pt x="2128" y="446"/>
                    </a:lnTo>
                    <a:lnTo>
                      <a:pt x="2160" y="483"/>
                    </a:lnTo>
                    <a:lnTo>
                      <a:pt x="2183" y="521"/>
                    </a:lnTo>
                    <a:lnTo>
                      <a:pt x="2196" y="560"/>
                    </a:lnTo>
                    <a:lnTo>
                      <a:pt x="2201" y="599"/>
                    </a:lnTo>
                    <a:lnTo>
                      <a:pt x="2201" y="599"/>
                    </a:lnTo>
                    <a:lnTo>
                      <a:pt x="2196" y="641"/>
                    </a:lnTo>
                    <a:lnTo>
                      <a:pt x="2181" y="682"/>
                    </a:lnTo>
                    <a:lnTo>
                      <a:pt x="2156" y="723"/>
                    </a:lnTo>
                    <a:lnTo>
                      <a:pt x="2121" y="760"/>
                    </a:lnTo>
                    <a:lnTo>
                      <a:pt x="2077" y="798"/>
                    </a:lnTo>
                    <a:lnTo>
                      <a:pt x="2026" y="833"/>
                    </a:lnTo>
                    <a:lnTo>
                      <a:pt x="1964" y="866"/>
                    </a:lnTo>
                    <a:lnTo>
                      <a:pt x="1896" y="897"/>
                    </a:lnTo>
                    <a:lnTo>
                      <a:pt x="1819" y="924"/>
                    </a:lnTo>
                    <a:lnTo>
                      <a:pt x="1734" y="950"/>
                    </a:lnTo>
                    <a:lnTo>
                      <a:pt x="1778" y="973"/>
                    </a:lnTo>
                    <a:lnTo>
                      <a:pt x="1802" y="985"/>
                    </a:lnTo>
                    <a:lnTo>
                      <a:pt x="1777" y="991"/>
                    </a:lnTo>
                    <a:lnTo>
                      <a:pt x="1699" y="1009"/>
                    </a:lnTo>
                    <a:lnTo>
                      <a:pt x="1621" y="1025"/>
                    </a:lnTo>
                    <a:lnTo>
                      <a:pt x="1539" y="1039"/>
                    </a:lnTo>
                    <a:lnTo>
                      <a:pt x="1561" y="1049"/>
                    </a:lnTo>
                    <a:lnTo>
                      <a:pt x="1585" y="1061"/>
                    </a:lnTo>
                    <a:lnTo>
                      <a:pt x="1613" y="1075"/>
                    </a:lnTo>
                    <a:lnTo>
                      <a:pt x="1642" y="1090"/>
                    </a:lnTo>
                    <a:lnTo>
                      <a:pt x="1674" y="1105"/>
                    </a:lnTo>
                    <a:lnTo>
                      <a:pt x="1707" y="1122"/>
                    </a:lnTo>
                    <a:lnTo>
                      <a:pt x="1739" y="1137"/>
                    </a:lnTo>
                    <a:lnTo>
                      <a:pt x="1769" y="1152"/>
                    </a:lnTo>
                    <a:lnTo>
                      <a:pt x="1796" y="1165"/>
                    </a:lnTo>
                    <a:lnTo>
                      <a:pt x="1822" y="1179"/>
                    </a:lnTo>
                    <a:lnTo>
                      <a:pt x="1843" y="1189"/>
                    </a:lnTo>
                    <a:lnTo>
                      <a:pt x="1858" y="1197"/>
                    </a:lnTo>
                    <a:lnTo>
                      <a:pt x="1869" y="1201"/>
                    </a:lnTo>
                    <a:lnTo>
                      <a:pt x="1872" y="1203"/>
                    </a:lnTo>
                    <a:lnTo>
                      <a:pt x="1882" y="1212"/>
                    </a:lnTo>
                    <a:lnTo>
                      <a:pt x="1890" y="1223"/>
                    </a:lnTo>
                    <a:lnTo>
                      <a:pt x="1891" y="1236"/>
                    </a:lnTo>
                    <a:lnTo>
                      <a:pt x="1891" y="1242"/>
                    </a:lnTo>
                    <a:lnTo>
                      <a:pt x="1888" y="1248"/>
                    </a:lnTo>
                    <a:lnTo>
                      <a:pt x="1885" y="1254"/>
                    </a:lnTo>
                    <a:lnTo>
                      <a:pt x="1881" y="1259"/>
                    </a:lnTo>
                    <a:lnTo>
                      <a:pt x="1870" y="1266"/>
                    </a:lnTo>
                    <a:lnTo>
                      <a:pt x="1857" y="1268"/>
                    </a:lnTo>
                    <a:lnTo>
                      <a:pt x="1852" y="1268"/>
                    </a:lnTo>
                    <a:lnTo>
                      <a:pt x="1848" y="1266"/>
                    </a:lnTo>
                    <a:lnTo>
                      <a:pt x="1024" y="1027"/>
                    </a:lnTo>
                    <a:lnTo>
                      <a:pt x="1023" y="1027"/>
                    </a:lnTo>
                    <a:lnTo>
                      <a:pt x="907" y="1021"/>
                    </a:lnTo>
                    <a:lnTo>
                      <a:pt x="793" y="1012"/>
                    </a:lnTo>
                    <a:lnTo>
                      <a:pt x="683" y="997"/>
                    </a:lnTo>
                    <a:lnTo>
                      <a:pt x="579" y="977"/>
                    </a:lnTo>
                    <a:lnTo>
                      <a:pt x="479" y="953"/>
                    </a:lnTo>
                    <a:lnTo>
                      <a:pt x="387" y="926"/>
                    </a:lnTo>
                    <a:lnTo>
                      <a:pt x="301" y="894"/>
                    </a:lnTo>
                    <a:lnTo>
                      <a:pt x="233" y="864"/>
                    </a:lnTo>
                    <a:lnTo>
                      <a:pt x="173" y="831"/>
                    </a:lnTo>
                    <a:lnTo>
                      <a:pt x="120" y="796"/>
                    </a:lnTo>
                    <a:lnTo>
                      <a:pt x="77" y="759"/>
                    </a:lnTo>
                    <a:lnTo>
                      <a:pt x="44" y="721"/>
                    </a:lnTo>
                    <a:lnTo>
                      <a:pt x="20" y="682"/>
                    </a:lnTo>
                    <a:lnTo>
                      <a:pt x="5" y="641"/>
                    </a:lnTo>
                    <a:lnTo>
                      <a:pt x="0" y="599"/>
                    </a:lnTo>
                    <a:lnTo>
                      <a:pt x="5" y="558"/>
                    </a:lnTo>
                    <a:lnTo>
                      <a:pt x="20" y="518"/>
                    </a:lnTo>
                    <a:lnTo>
                      <a:pt x="44" y="479"/>
                    </a:lnTo>
                    <a:lnTo>
                      <a:pt x="77" y="439"/>
                    </a:lnTo>
                    <a:lnTo>
                      <a:pt x="121" y="403"/>
                    </a:lnTo>
                    <a:lnTo>
                      <a:pt x="173" y="369"/>
                    </a:lnTo>
                    <a:lnTo>
                      <a:pt x="231" y="336"/>
                    </a:lnTo>
                    <a:lnTo>
                      <a:pt x="299" y="304"/>
                    </a:lnTo>
                    <a:lnTo>
                      <a:pt x="376" y="277"/>
                    </a:lnTo>
                    <a:lnTo>
                      <a:pt x="325" y="259"/>
                    </a:lnTo>
                    <a:lnTo>
                      <a:pt x="296" y="248"/>
                    </a:lnTo>
                    <a:lnTo>
                      <a:pt x="325" y="239"/>
                    </a:lnTo>
                    <a:lnTo>
                      <a:pt x="395" y="218"/>
                    </a:lnTo>
                    <a:lnTo>
                      <a:pt x="469" y="200"/>
                    </a:lnTo>
                    <a:lnTo>
                      <a:pt x="546" y="182"/>
                    </a:lnTo>
                    <a:lnTo>
                      <a:pt x="523" y="174"/>
                    </a:lnTo>
                    <a:lnTo>
                      <a:pt x="497" y="165"/>
                    </a:lnTo>
                    <a:lnTo>
                      <a:pt x="467" y="155"/>
                    </a:lnTo>
                    <a:lnTo>
                      <a:pt x="435" y="143"/>
                    </a:lnTo>
                    <a:lnTo>
                      <a:pt x="402" y="132"/>
                    </a:lnTo>
                    <a:lnTo>
                      <a:pt x="369" y="120"/>
                    </a:lnTo>
                    <a:lnTo>
                      <a:pt x="337" y="108"/>
                    </a:lnTo>
                    <a:lnTo>
                      <a:pt x="305" y="98"/>
                    </a:lnTo>
                    <a:lnTo>
                      <a:pt x="277" y="87"/>
                    </a:lnTo>
                    <a:lnTo>
                      <a:pt x="251" y="78"/>
                    </a:lnTo>
                    <a:lnTo>
                      <a:pt x="230" y="71"/>
                    </a:lnTo>
                    <a:lnTo>
                      <a:pt x="213" y="65"/>
                    </a:lnTo>
                    <a:lnTo>
                      <a:pt x="203" y="60"/>
                    </a:lnTo>
                    <a:lnTo>
                      <a:pt x="198" y="59"/>
                    </a:lnTo>
                    <a:lnTo>
                      <a:pt x="189" y="52"/>
                    </a:lnTo>
                    <a:lnTo>
                      <a:pt x="182" y="42"/>
                    </a:lnTo>
                    <a:lnTo>
                      <a:pt x="179" y="30"/>
                    </a:lnTo>
                    <a:lnTo>
                      <a:pt x="183" y="15"/>
                    </a:lnTo>
                    <a:lnTo>
                      <a:pt x="195" y="3"/>
                    </a:lnTo>
                    <a:lnTo>
                      <a:pt x="210" y="0"/>
                    </a:lnTo>
                    <a:close/>
                  </a:path>
                </a:pathLst>
              </a:custGeom>
              <a:solidFill>
                <a:srgbClr val="0F07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33">
                <a:extLst>
                  <a:ext uri="{FF2B5EF4-FFF2-40B4-BE49-F238E27FC236}">
                    <a16:creationId xmlns:a16="http://schemas.microsoft.com/office/drawing/2014/main" id="{6DE515ED-2361-436D-AEE7-63A5CA8A60FF}"/>
                  </a:ext>
                </a:extLst>
              </p:cNvPr>
              <p:cNvSpPr>
                <a:spLocks noEditPoints="1"/>
              </p:cNvSpPr>
              <p:nvPr userDrawn="1"/>
            </p:nvSpPr>
            <p:spPr bwMode="auto">
              <a:xfrm>
                <a:off x="9478963" y="2100263"/>
                <a:ext cx="244475" cy="249238"/>
              </a:xfrm>
              <a:custGeom>
                <a:avLst/>
                <a:gdLst>
                  <a:gd name="T0" fmla="*/ 66 w 154"/>
                  <a:gd name="T1" fmla="*/ 45 h 157"/>
                  <a:gd name="T2" fmla="*/ 63 w 154"/>
                  <a:gd name="T3" fmla="*/ 76 h 157"/>
                  <a:gd name="T4" fmla="*/ 78 w 154"/>
                  <a:gd name="T5" fmla="*/ 76 h 157"/>
                  <a:gd name="T6" fmla="*/ 87 w 154"/>
                  <a:gd name="T7" fmla="*/ 72 h 157"/>
                  <a:gd name="T8" fmla="*/ 93 w 154"/>
                  <a:gd name="T9" fmla="*/ 66 h 157"/>
                  <a:gd name="T10" fmla="*/ 93 w 154"/>
                  <a:gd name="T11" fmla="*/ 57 h 157"/>
                  <a:gd name="T12" fmla="*/ 89 w 154"/>
                  <a:gd name="T13" fmla="*/ 50 h 157"/>
                  <a:gd name="T14" fmla="*/ 80 w 154"/>
                  <a:gd name="T15" fmla="*/ 47 h 157"/>
                  <a:gd name="T16" fmla="*/ 74 w 154"/>
                  <a:gd name="T17" fmla="*/ 35 h 157"/>
                  <a:gd name="T18" fmla="*/ 101 w 154"/>
                  <a:gd name="T19" fmla="*/ 42 h 157"/>
                  <a:gd name="T20" fmla="*/ 107 w 154"/>
                  <a:gd name="T21" fmla="*/ 48 h 157"/>
                  <a:gd name="T22" fmla="*/ 108 w 154"/>
                  <a:gd name="T23" fmla="*/ 60 h 157"/>
                  <a:gd name="T24" fmla="*/ 105 w 154"/>
                  <a:gd name="T25" fmla="*/ 71 h 157"/>
                  <a:gd name="T26" fmla="*/ 96 w 154"/>
                  <a:gd name="T27" fmla="*/ 79 h 157"/>
                  <a:gd name="T28" fmla="*/ 92 w 154"/>
                  <a:gd name="T29" fmla="*/ 82 h 157"/>
                  <a:gd name="T30" fmla="*/ 99 w 154"/>
                  <a:gd name="T31" fmla="*/ 86 h 157"/>
                  <a:gd name="T32" fmla="*/ 104 w 154"/>
                  <a:gd name="T33" fmla="*/ 95 h 157"/>
                  <a:gd name="T34" fmla="*/ 107 w 154"/>
                  <a:gd name="T35" fmla="*/ 110 h 157"/>
                  <a:gd name="T36" fmla="*/ 110 w 154"/>
                  <a:gd name="T37" fmla="*/ 119 h 157"/>
                  <a:gd name="T38" fmla="*/ 111 w 154"/>
                  <a:gd name="T39" fmla="*/ 124 h 157"/>
                  <a:gd name="T40" fmla="*/ 95 w 154"/>
                  <a:gd name="T41" fmla="*/ 121 h 157"/>
                  <a:gd name="T42" fmla="*/ 92 w 154"/>
                  <a:gd name="T43" fmla="*/ 110 h 157"/>
                  <a:gd name="T44" fmla="*/ 89 w 154"/>
                  <a:gd name="T45" fmla="*/ 97 h 157"/>
                  <a:gd name="T46" fmla="*/ 83 w 154"/>
                  <a:gd name="T47" fmla="*/ 89 h 157"/>
                  <a:gd name="T48" fmla="*/ 72 w 154"/>
                  <a:gd name="T49" fmla="*/ 86 h 157"/>
                  <a:gd name="T50" fmla="*/ 63 w 154"/>
                  <a:gd name="T51" fmla="*/ 124 h 157"/>
                  <a:gd name="T52" fmla="*/ 48 w 154"/>
                  <a:gd name="T53" fmla="*/ 38 h 157"/>
                  <a:gd name="T54" fmla="*/ 74 w 154"/>
                  <a:gd name="T55" fmla="*/ 35 h 157"/>
                  <a:gd name="T56" fmla="*/ 57 w 154"/>
                  <a:gd name="T57" fmla="*/ 17 h 157"/>
                  <a:gd name="T58" fmla="*/ 27 w 154"/>
                  <a:gd name="T59" fmla="*/ 39 h 157"/>
                  <a:gd name="T60" fmla="*/ 15 w 154"/>
                  <a:gd name="T61" fmla="*/ 79 h 157"/>
                  <a:gd name="T62" fmla="*/ 27 w 154"/>
                  <a:gd name="T63" fmla="*/ 118 h 157"/>
                  <a:gd name="T64" fmla="*/ 57 w 154"/>
                  <a:gd name="T65" fmla="*/ 142 h 157"/>
                  <a:gd name="T66" fmla="*/ 98 w 154"/>
                  <a:gd name="T67" fmla="*/ 142 h 157"/>
                  <a:gd name="T68" fmla="*/ 128 w 154"/>
                  <a:gd name="T69" fmla="*/ 118 h 157"/>
                  <a:gd name="T70" fmla="*/ 140 w 154"/>
                  <a:gd name="T71" fmla="*/ 79 h 157"/>
                  <a:gd name="T72" fmla="*/ 128 w 154"/>
                  <a:gd name="T73" fmla="*/ 39 h 157"/>
                  <a:gd name="T74" fmla="*/ 98 w 154"/>
                  <a:gd name="T75" fmla="*/ 17 h 157"/>
                  <a:gd name="T76" fmla="*/ 77 w 154"/>
                  <a:gd name="T77" fmla="*/ 12 h 157"/>
                  <a:gd name="T78" fmla="*/ 78 w 154"/>
                  <a:gd name="T79" fmla="*/ 0 h 157"/>
                  <a:gd name="T80" fmla="*/ 123 w 154"/>
                  <a:gd name="T81" fmla="*/ 15 h 157"/>
                  <a:gd name="T82" fmla="*/ 151 w 154"/>
                  <a:gd name="T83" fmla="*/ 54 h 157"/>
                  <a:gd name="T84" fmla="*/ 151 w 154"/>
                  <a:gd name="T85" fmla="*/ 104 h 157"/>
                  <a:gd name="T86" fmla="*/ 123 w 154"/>
                  <a:gd name="T87" fmla="*/ 142 h 157"/>
                  <a:gd name="T88" fmla="*/ 77 w 154"/>
                  <a:gd name="T89" fmla="*/ 157 h 157"/>
                  <a:gd name="T90" fmla="*/ 31 w 154"/>
                  <a:gd name="T91" fmla="*/ 142 h 157"/>
                  <a:gd name="T92" fmla="*/ 4 w 154"/>
                  <a:gd name="T93" fmla="*/ 104 h 157"/>
                  <a:gd name="T94" fmla="*/ 4 w 154"/>
                  <a:gd name="T95" fmla="*/ 54 h 157"/>
                  <a:gd name="T96" fmla="*/ 31 w 154"/>
                  <a:gd name="T97" fmla="*/ 15 h 157"/>
                  <a:gd name="T98" fmla="*/ 77 w 154"/>
                  <a:gd name="T9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57">
                    <a:moveTo>
                      <a:pt x="72" y="45"/>
                    </a:moveTo>
                    <a:lnTo>
                      <a:pt x="66" y="45"/>
                    </a:lnTo>
                    <a:lnTo>
                      <a:pt x="63" y="47"/>
                    </a:lnTo>
                    <a:lnTo>
                      <a:pt x="63" y="76"/>
                    </a:lnTo>
                    <a:lnTo>
                      <a:pt x="72" y="76"/>
                    </a:lnTo>
                    <a:lnTo>
                      <a:pt x="78" y="76"/>
                    </a:lnTo>
                    <a:lnTo>
                      <a:pt x="83" y="74"/>
                    </a:lnTo>
                    <a:lnTo>
                      <a:pt x="87" y="72"/>
                    </a:lnTo>
                    <a:lnTo>
                      <a:pt x="90" y="69"/>
                    </a:lnTo>
                    <a:lnTo>
                      <a:pt x="93" y="66"/>
                    </a:lnTo>
                    <a:lnTo>
                      <a:pt x="93" y="60"/>
                    </a:lnTo>
                    <a:lnTo>
                      <a:pt x="93" y="57"/>
                    </a:lnTo>
                    <a:lnTo>
                      <a:pt x="92" y="54"/>
                    </a:lnTo>
                    <a:lnTo>
                      <a:pt x="89" y="50"/>
                    </a:lnTo>
                    <a:lnTo>
                      <a:pt x="86" y="48"/>
                    </a:lnTo>
                    <a:lnTo>
                      <a:pt x="80" y="47"/>
                    </a:lnTo>
                    <a:lnTo>
                      <a:pt x="72" y="45"/>
                    </a:lnTo>
                    <a:close/>
                    <a:moveTo>
                      <a:pt x="74" y="35"/>
                    </a:moveTo>
                    <a:lnTo>
                      <a:pt x="90" y="36"/>
                    </a:lnTo>
                    <a:lnTo>
                      <a:pt x="101" y="42"/>
                    </a:lnTo>
                    <a:lnTo>
                      <a:pt x="104" y="45"/>
                    </a:lnTo>
                    <a:lnTo>
                      <a:pt x="107" y="48"/>
                    </a:lnTo>
                    <a:lnTo>
                      <a:pt x="108" y="54"/>
                    </a:lnTo>
                    <a:lnTo>
                      <a:pt x="108" y="60"/>
                    </a:lnTo>
                    <a:lnTo>
                      <a:pt x="107" y="66"/>
                    </a:lnTo>
                    <a:lnTo>
                      <a:pt x="105" y="71"/>
                    </a:lnTo>
                    <a:lnTo>
                      <a:pt x="101" y="76"/>
                    </a:lnTo>
                    <a:lnTo>
                      <a:pt x="96" y="79"/>
                    </a:lnTo>
                    <a:lnTo>
                      <a:pt x="92" y="82"/>
                    </a:lnTo>
                    <a:lnTo>
                      <a:pt x="92" y="82"/>
                    </a:lnTo>
                    <a:lnTo>
                      <a:pt x="96" y="83"/>
                    </a:lnTo>
                    <a:lnTo>
                      <a:pt x="99" y="86"/>
                    </a:lnTo>
                    <a:lnTo>
                      <a:pt x="102" y="91"/>
                    </a:lnTo>
                    <a:lnTo>
                      <a:pt x="104" y="95"/>
                    </a:lnTo>
                    <a:lnTo>
                      <a:pt x="105" y="103"/>
                    </a:lnTo>
                    <a:lnTo>
                      <a:pt x="107" y="110"/>
                    </a:lnTo>
                    <a:lnTo>
                      <a:pt x="108" y="115"/>
                    </a:lnTo>
                    <a:lnTo>
                      <a:pt x="110" y="119"/>
                    </a:lnTo>
                    <a:lnTo>
                      <a:pt x="110" y="122"/>
                    </a:lnTo>
                    <a:lnTo>
                      <a:pt x="111" y="124"/>
                    </a:lnTo>
                    <a:lnTo>
                      <a:pt x="96" y="124"/>
                    </a:lnTo>
                    <a:lnTo>
                      <a:pt x="95" y="121"/>
                    </a:lnTo>
                    <a:lnTo>
                      <a:pt x="93" y="116"/>
                    </a:lnTo>
                    <a:lnTo>
                      <a:pt x="92" y="110"/>
                    </a:lnTo>
                    <a:lnTo>
                      <a:pt x="92" y="103"/>
                    </a:lnTo>
                    <a:lnTo>
                      <a:pt x="89" y="97"/>
                    </a:lnTo>
                    <a:lnTo>
                      <a:pt x="87" y="92"/>
                    </a:lnTo>
                    <a:lnTo>
                      <a:pt x="83" y="89"/>
                    </a:lnTo>
                    <a:lnTo>
                      <a:pt x="78" y="88"/>
                    </a:lnTo>
                    <a:lnTo>
                      <a:pt x="72" y="86"/>
                    </a:lnTo>
                    <a:lnTo>
                      <a:pt x="63" y="86"/>
                    </a:lnTo>
                    <a:lnTo>
                      <a:pt x="63" y="124"/>
                    </a:lnTo>
                    <a:lnTo>
                      <a:pt x="48" y="124"/>
                    </a:lnTo>
                    <a:lnTo>
                      <a:pt x="48" y="38"/>
                    </a:lnTo>
                    <a:lnTo>
                      <a:pt x="60" y="36"/>
                    </a:lnTo>
                    <a:lnTo>
                      <a:pt x="74" y="35"/>
                    </a:lnTo>
                    <a:close/>
                    <a:moveTo>
                      <a:pt x="77" y="12"/>
                    </a:moveTo>
                    <a:lnTo>
                      <a:pt x="57" y="17"/>
                    </a:lnTo>
                    <a:lnTo>
                      <a:pt x="40" y="26"/>
                    </a:lnTo>
                    <a:lnTo>
                      <a:pt x="27" y="39"/>
                    </a:lnTo>
                    <a:lnTo>
                      <a:pt x="18" y="57"/>
                    </a:lnTo>
                    <a:lnTo>
                      <a:pt x="15" y="79"/>
                    </a:lnTo>
                    <a:lnTo>
                      <a:pt x="18" y="100"/>
                    </a:lnTo>
                    <a:lnTo>
                      <a:pt x="27" y="118"/>
                    </a:lnTo>
                    <a:lnTo>
                      <a:pt x="40" y="133"/>
                    </a:lnTo>
                    <a:lnTo>
                      <a:pt x="57" y="142"/>
                    </a:lnTo>
                    <a:lnTo>
                      <a:pt x="78" y="145"/>
                    </a:lnTo>
                    <a:lnTo>
                      <a:pt x="98" y="142"/>
                    </a:lnTo>
                    <a:lnTo>
                      <a:pt x="114" y="133"/>
                    </a:lnTo>
                    <a:lnTo>
                      <a:pt x="128" y="118"/>
                    </a:lnTo>
                    <a:lnTo>
                      <a:pt x="137" y="100"/>
                    </a:lnTo>
                    <a:lnTo>
                      <a:pt x="140" y="79"/>
                    </a:lnTo>
                    <a:lnTo>
                      <a:pt x="137" y="57"/>
                    </a:lnTo>
                    <a:lnTo>
                      <a:pt x="128" y="39"/>
                    </a:lnTo>
                    <a:lnTo>
                      <a:pt x="114" y="26"/>
                    </a:lnTo>
                    <a:lnTo>
                      <a:pt x="98" y="17"/>
                    </a:lnTo>
                    <a:lnTo>
                      <a:pt x="78" y="12"/>
                    </a:lnTo>
                    <a:lnTo>
                      <a:pt x="77" y="12"/>
                    </a:lnTo>
                    <a:close/>
                    <a:moveTo>
                      <a:pt x="77" y="0"/>
                    </a:moveTo>
                    <a:lnTo>
                      <a:pt x="78" y="0"/>
                    </a:lnTo>
                    <a:lnTo>
                      <a:pt x="102" y="5"/>
                    </a:lnTo>
                    <a:lnTo>
                      <a:pt x="123" y="15"/>
                    </a:lnTo>
                    <a:lnTo>
                      <a:pt x="140" y="33"/>
                    </a:lnTo>
                    <a:lnTo>
                      <a:pt x="151" y="54"/>
                    </a:lnTo>
                    <a:lnTo>
                      <a:pt x="154" y="79"/>
                    </a:lnTo>
                    <a:lnTo>
                      <a:pt x="151" y="104"/>
                    </a:lnTo>
                    <a:lnTo>
                      <a:pt x="140" y="125"/>
                    </a:lnTo>
                    <a:lnTo>
                      <a:pt x="123" y="142"/>
                    </a:lnTo>
                    <a:lnTo>
                      <a:pt x="102" y="154"/>
                    </a:lnTo>
                    <a:lnTo>
                      <a:pt x="77" y="157"/>
                    </a:lnTo>
                    <a:lnTo>
                      <a:pt x="52" y="154"/>
                    </a:lnTo>
                    <a:lnTo>
                      <a:pt x="31" y="142"/>
                    </a:lnTo>
                    <a:lnTo>
                      <a:pt x="15" y="125"/>
                    </a:lnTo>
                    <a:lnTo>
                      <a:pt x="4" y="104"/>
                    </a:lnTo>
                    <a:lnTo>
                      <a:pt x="0" y="79"/>
                    </a:lnTo>
                    <a:lnTo>
                      <a:pt x="4" y="54"/>
                    </a:lnTo>
                    <a:lnTo>
                      <a:pt x="15" y="33"/>
                    </a:lnTo>
                    <a:lnTo>
                      <a:pt x="31" y="15"/>
                    </a:lnTo>
                    <a:lnTo>
                      <a:pt x="52" y="5"/>
                    </a:lnTo>
                    <a:lnTo>
                      <a:pt x="7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1" name="Rectangle 34">
              <a:extLst>
                <a:ext uri="{FF2B5EF4-FFF2-40B4-BE49-F238E27FC236}">
                  <a16:creationId xmlns:a16="http://schemas.microsoft.com/office/drawing/2014/main" id="{7B874B59-203A-4FFE-BBD7-2305E3053099}"/>
                </a:ext>
              </a:extLst>
            </p:cNvPr>
            <p:cNvSpPr>
              <a:spLocks noChangeArrowheads="1"/>
            </p:cNvSpPr>
            <p:nvPr userDrawn="1"/>
          </p:nvSpPr>
          <p:spPr bwMode="auto">
            <a:xfrm>
              <a:off x="6099535" y="1505599"/>
              <a:ext cx="33308" cy="2385103"/>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83" name="Picture 82">
              <a:extLst>
                <a:ext uri="{FF2B5EF4-FFF2-40B4-BE49-F238E27FC236}">
                  <a16:creationId xmlns:a16="http://schemas.microsoft.com/office/drawing/2014/main" id="{83B39DF6-34C9-4EAD-836A-383CDF0D27F5}"/>
                </a:ext>
              </a:extLst>
            </p:cNvPr>
            <p:cNvPicPr>
              <a:picLocks noChangeAspect="1"/>
            </p:cNvPicPr>
            <p:nvPr userDrawn="1"/>
          </p:nvPicPr>
          <p:blipFill>
            <a:blip r:embed="rId2"/>
            <a:stretch>
              <a:fillRect/>
            </a:stretch>
          </p:blipFill>
          <p:spPr>
            <a:xfrm>
              <a:off x="2509594" y="1483313"/>
              <a:ext cx="2436117" cy="2429568"/>
            </a:xfrm>
            <a:prstGeom prst="rect">
              <a:avLst/>
            </a:prstGeom>
          </p:spPr>
        </p:pic>
      </p:grpSp>
    </p:spTree>
    <p:extLst>
      <p:ext uri="{BB962C8B-B14F-4D97-AF65-F5344CB8AC3E}">
        <p14:creationId xmlns:p14="http://schemas.microsoft.com/office/powerpoint/2010/main" val="170358313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A">
    <p:spTree>
      <p:nvGrpSpPr>
        <p:cNvPr id="1" name=""/>
        <p:cNvGrpSpPr/>
        <p:nvPr/>
      </p:nvGrpSpPr>
      <p:grpSpPr>
        <a:xfrm>
          <a:off x="0" y="0"/>
          <a:ext cx="0" cy="0"/>
          <a:chOff x="0" y="0"/>
          <a:chExt cx="0" cy="0"/>
        </a:xfrm>
      </p:grpSpPr>
      <p:sp>
        <p:nvSpPr>
          <p:cNvPr id="3" name="Rectangle 2"/>
          <p:cNvSpPr/>
          <p:nvPr userDrawn="1"/>
        </p:nvSpPr>
        <p:spPr>
          <a:xfrm>
            <a:off x="174928" y="3868"/>
            <a:ext cx="12221501"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17" name="Picture Placeholder 16"/>
          <p:cNvSpPr>
            <a:spLocks noGrp="1"/>
          </p:cNvSpPr>
          <p:nvPr>
            <p:ph type="pic" sz="quarter" idx="10" hasCustomPrompt="1"/>
          </p:nvPr>
        </p:nvSpPr>
        <p:spPr>
          <a:xfrm>
            <a:off x="6093338" y="2330450"/>
            <a:ext cx="2991344" cy="4527550"/>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8" name="Picture Placeholder 16"/>
          <p:cNvSpPr>
            <a:spLocks noGrp="1"/>
          </p:cNvSpPr>
          <p:nvPr>
            <p:ph type="pic" sz="quarter" idx="11" hasCustomPrompt="1"/>
          </p:nvPr>
        </p:nvSpPr>
        <p:spPr>
          <a:xfrm>
            <a:off x="9193833" y="-7233"/>
            <a:ext cx="3202596" cy="6865144"/>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t>
            </a:r>
            <a:br>
              <a:rPr lang="en-US" dirty="0"/>
            </a:br>
            <a:r>
              <a:rPr lang="en-US" dirty="0"/>
              <a:t>Add Image</a:t>
            </a:r>
          </a:p>
        </p:txBody>
      </p:sp>
      <p:sp>
        <p:nvSpPr>
          <p:cNvPr id="11" name="Shape 344"/>
          <p:cNvSpPr/>
          <p:nvPr userDrawn="1"/>
        </p:nvSpPr>
        <p:spPr>
          <a:xfrm>
            <a:off x="6095933" y="0"/>
            <a:ext cx="2988748" cy="2209800"/>
          </a:xfrm>
          <a:custGeom>
            <a:avLst/>
            <a:gdLst/>
            <a:ahLst/>
            <a:cxnLst/>
            <a:rect l="0" t="0" r="0" b="0"/>
            <a:pathLst>
              <a:path w="120000" h="120000" extrusionOk="0">
                <a:moveTo>
                  <a:pt x="0" y="0"/>
                </a:moveTo>
                <a:lnTo>
                  <a:pt x="120000" y="0"/>
                </a:lnTo>
                <a:lnTo>
                  <a:pt x="120000" y="120000"/>
                </a:lnTo>
                <a:lnTo>
                  <a:pt x="0" y="120000"/>
                </a:ln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8100000" scaled="1"/>
            <a:tileRect/>
          </a:gradFill>
          <a:ln>
            <a:noFill/>
          </a:ln>
          <a:effectLst/>
        </p:spPr>
      </p:sp>
      <p:sp>
        <p:nvSpPr>
          <p:cNvPr id="15" name="Shape 517"/>
          <p:cNvSpPr/>
          <p:nvPr userDrawn="1"/>
        </p:nvSpPr>
        <p:spPr>
          <a:xfrm rot="16200000">
            <a:off x="6967647" y="538996"/>
            <a:ext cx="1245320" cy="1131808"/>
          </a:xfrm>
          <a:custGeom>
            <a:avLst/>
            <a:gdLst/>
            <a:ahLst/>
            <a:cxnLst/>
            <a:rect l="0" t="0" r="0" b="0"/>
            <a:pathLst>
              <a:path w="120000" h="120000" extrusionOk="0">
                <a:moveTo>
                  <a:pt x="35418" y="119999"/>
                </a:moveTo>
                <a:lnTo>
                  <a:pt x="35418" y="119999"/>
                </a:lnTo>
                <a:lnTo>
                  <a:pt x="34778" y="119999"/>
                </a:lnTo>
                <a:lnTo>
                  <a:pt x="34088" y="119912"/>
                </a:lnTo>
                <a:lnTo>
                  <a:pt x="32660" y="119516"/>
                </a:lnTo>
                <a:lnTo>
                  <a:pt x="31379" y="119033"/>
                </a:lnTo>
                <a:lnTo>
                  <a:pt x="30049" y="118243"/>
                </a:lnTo>
                <a:lnTo>
                  <a:pt x="28817" y="117320"/>
                </a:lnTo>
                <a:lnTo>
                  <a:pt x="27684" y="116266"/>
                </a:lnTo>
                <a:lnTo>
                  <a:pt x="26699" y="115168"/>
                </a:lnTo>
                <a:lnTo>
                  <a:pt x="26256" y="114465"/>
                </a:lnTo>
                <a:lnTo>
                  <a:pt x="25911" y="113894"/>
                </a:lnTo>
                <a:lnTo>
                  <a:pt x="1330" y="66105"/>
                </a:lnTo>
                <a:lnTo>
                  <a:pt x="1330" y="66105"/>
                </a:lnTo>
                <a:lnTo>
                  <a:pt x="1034" y="65534"/>
                </a:lnTo>
                <a:lnTo>
                  <a:pt x="788" y="64831"/>
                </a:lnTo>
                <a:lnTo>
                  <a:pt x="344" y="63250"/>
                </a:lnTo>
                <a:lnTo>
                  <a:pt x="98" y="61669"/>
                </a:lnTo>
                <a:lnTo>
                  <a:pt x="0" y="59999"/>
                </a:lnTo>
                <a:lnTo>
                  <a:pt x="98" y="58330"/>
                </a:lnTo>
                <a:lnTo>
                  <a:pt x="344" y="56749"/>
                </a:lnTo>
                <a:lnTo>
                  <a:pt x="788" y="55168"/>
                </a:lnTo>
                <a:lnTo>
                  <a:pt x="1034" y="54465"/>
                </a:lnTo>
                <a:lnTo>
                  <a:pt x="1330" y="53894"/>
                </a:lnTo>
                <a:lnTo>
                  <a:pt x="25911" y="6105"/>
                </a:lnTo>
                <a:lnTo>
                  <a:pt x="25911" y="6105"/>
                </a:lnTo>
                <a:lnTo>
                  <a:pt x="26256" y="5534"/>
                </a:lnTo>
                <a:lnTo>
                  <a:pt x="26699" y="4831"/>
                </a:lnTo>
                <a:lnTo>
                  <a:pt x="27684" y="3733"/>
                </a:lnTo>
                <a:lnTo>
                  <a:pt x="28817" y="2679"/>
                </a:lnTo>
                <a:lnTo>
                  <a:pt x="30049" y="1756"/>
                </a:lnTo>
                <a:lnTo>
                  <a:pt x="31379" y="966"/>
                </a:lnTo>
                <a:lnTo>
                  <a:pt x="32660" y="395"/>
                </a:lnTo>
                <a:lnTo>
                  <a:pt x="34088" y="87"/>
                </a:lnTo>
                <a:lnTo>
                  <a:pt x="34778" y="0"/>
                </a:lnTo>
                <a:lnTo>
                  <a:pt x="35418" y="0"/>
                </a:lnTo>
                <a:lnTo>
                  <a:pt x="84581" y="0"/>
                </a:lnTo>
                <a:lnTo>
                  <a:pt x="84581" y="0"/>
                </a:lnTo>
                <a:lnTo>
                  <a:pt x="85221" y="0"/>
                </a:lnTo>
                <a:lnTo>
                  <a:pt x="85911" y="87"/>
                </a:lnTo>
                <a:lnTo>
                  <a:pt x="87339" y="395"/>
                </a:lnTo>
                <a:lnTo>
                  <a:pt x="88620" y="966"/>
                </a:lnTo>
                <a:lnTo>
                  <a:pt x="89950" y="1756"/>
                </a:lnTo>
                <a:lnTo>
                  <a:pt x="91182" y="2679"/>
                </a:lnTo>
                <a:lnTo>
                  <a:pt x="92315" y="3733"/>
                </a:lnTo>
                <a:lnTo>
                  <a:pt x="93300" y="4831"/>
                </a:lnTo>
                <a:lnTo>
                  <a:pt x="93743" y="5534"/>
                </a:lnTo>
                <a:lnTo>
                  <a:pt x="94088" y="6105"/>
                </a:lnTo>
                <a:lnTo>
                  <a:pt x="118669" y="53894"/>
                </a:lnTo>
                <a:lnTo>
                  <a:pt x="118669" y="53894"/>
                </a:lnTo>
                <a:lnTo>
                  <a:pt x="118965" y="54465"/>
                </a:lnTo>
                <a:lnTo>
                  <a:pt x="119211" y="55168"/>
                </a:lnTo>
                <a:lnTo>
                  <a:pt x="119655" y="56749"/>
                </a:lnTo>
                <a:lnTo>
                  <a:pt x="119901" y="58330"/>
                </a:lnTo>
                <a:lnTo>
                  <a:pt x="120000" y="59999"/>
                </a:lnTo>
                <a:lnTo>
                  <a:pt x="119901" y="61669"/>
                </a:lnTo>
                <a:lnTo>
                  <a:pt x="119655" y="63250"/>
                </a:lnTo>
                <a:lnTo>
                  <a:pt x="119211" y="64831"/>
                </a:lnTo>
                <a:lnTo>
                  <a:pt x="118965" y="65534"/>
                </a:lnTo>
                <a:lnTo>
                  <a:pt x="118669" y="66105"/>
                </a:lnTo>
                <a:lnTo>
                  <a:pt x="94088" y="113894"/>
                </a:lnTo>
                <a:lnTo>
                  <a:pt x="94088" y="113894"/>
                </a:lnTo>
                <a:lnTo>
                  <a:pt x="93743" y="114465"/>
                </a:lnTo>
                <a:lnTo>
                  <a:pt x="93300" y="115168"/>
                </a:lnTo>
                <a:lnTo>
                  <a:pt x="92315" y="116266"/>
                </a:lnTo>
                <a:lnTo>
                  <a:pt x="91182" y="117320"/>
                </a:lnTo>
                <a:lnTo>
                  <a:pt x="89950" y="118243"/>
                </a:lnTo>
                <a:lnTo>
                  <a:pt x="88620" y="119033"/>
                </a:lnTo>
                <a:lnTo>
                  <a:pt x="87339" y="119516"/>
                </a:lnTo>
                <a:lnTo>
                  <a:pt x="85911" y="119912"/>
                </a:lnTo>
                <a:lnTo>
                  <a:pt x="85221" y="119999"/>
                </a:lnTo>
                <a:lnTo>
                  <a:pt x="84581" y="119999"/>
                </a:lnTo>
                <a:lnTo>
                  <a:pt x="35418" y="119999"/>
                </a:lnTo>
                <a:close/>
              </a:path>
            </a:pathLst>
          </a:custGeom>
          <a:noFill/>
          <a:ln w="19050">
            <a:solidFill>
              <a:schemeClr val="bg1"/>
            </a:solidFill>
          </a:ln>
        </p:spPr>
        <p:txBody>
          <a:bodyPr wrap="square" lIns="91425" tIns="45700" rIns="91425" bIns="45700" anchor="ctr" anchorCtr="0">
            <a:noAutofit/>
          </a:bodyPr>
          <a:lstStyle/>
          <a:p>
            <a:pPr algn="ctr"/>
            <a:endParaRPr sz="2700" dirty="0">
              <a:solidFill>
                <a:srgbClr val="FFFFFF"/>
              </a:solidFill>
              <a:latin typeface="Nunito Light"/>
              <a:ea typeface="Nunito Light"/>
              <a:cs typeface="Nunito Light"/>
              <a:sym typeface="Nunito Light"/>
            </a:endParaRPr>
          </a:p>
        </p:txBody>
      </p:sp>
      <p:sp>
        <p:nvSpPr>
          <p:cNvPr id="19" name="Title 1"/>
          <p:cNvSpPr>
            <a:spLocks noGrp="1"/>
          </p:cNvSpPr>
          <p:nvPr>
            <p:ph type="title" hasCustomPrompt="1"/>
          </p:nvPr>
        </p:nvSpPr>
        <p:spPr>
          <a:xfrm>
            <a:off x="599400" y="1322950"/>
            <a:ext cx="5030123" cy="1168972"/>
          </a:xfrm>
        </p:spPr>
        <p:txBody>
          <a:bodyPr anchor="b"/>
          <a:lstStyle>
            <a:lvl1pPr algn="l">
              <a:lnSpc>
                <a:spcPct val="100000"/>
              </a:lnSpc>
              <a:defRPr sz="44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600075" y="2591267"/>
            <a:ext cx="5029505" cy="2304583"/>
          </a:xfrm>
        </p:spPr>
        <p:txBody>
          <a:bodyPr>
            <a:noAutofit/>
          </a:bodyPr>
          <a:lstStyle>
            <a:lvl1pPr marL="0" indent="0" algn="l">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err="1"/>
              <a:t>Mea</a:t>
            </a:r>
            <a:r>
              <a:rPr lang="en-US" dirty="0"/>
              <a:t> cu case </a:t>
            </a:r>
            <a:r>
              <a:rPr lang="en-US" dirty="0" err="1"/>
              <a:t>ludus</a:t>
            </a:r>
            <a:r>
              <a:rPr lang="en-US" dirty="0"/>
              <a:t> </a:t>
            </a:r>
            <a:r>
              <a:rPr lang="en-US" dirty="0" err="1"/>
              <a:t>integre</a:t>
            </a:r>
            <a:r>
              <a:rPr lang="en-US" dirty="0"/>
              <a:t>, vide </a:t>
            </a:r>
            <a:r>
              <a:rPr lang="en-US" dirty="0" err="1"/>
              <a:t>viderer</a:t>
            </a:r>
            <a:r>
              <a:rPr lang="en-US" dirty="0"/>
              <a:t> </a:t>
            </a:r>
            <a:r>
              <a:rPr lang="en-US" dirty="0" err="1"/>
              <a:t>eleifend</a:t>
            </a:r>
            <a:r>
              <a:rPr lang="en-US" dirty="0"/>
              <a:t> ex </a:t>
            </a:r>
            <a:r>
              <a:rPr lang="en-US" dirty="0" err="1"/>
              <a:t>mea</a:t>
            </a:r>
            <a:r>
              <a:rPr lang="en-US" dirty="0"/>
              <a:t>. His at </a:t>
            </a:r>
            <a:r>
              <a:rPr lang="en-US" dirty="0" err="1"/>
              <a:t>soluta</a:t>
            </a:r>
            <a:r>
              <a:rPr lang="en-US" dirty="0"/>
              <a:t> </a:t>
            </a:r>
            <a:r>
              <a:rPr lang="en-US" dirty="0" err="1"/>
              <a:t>regione</a:t>
            </a:r>
            <a:r>
              <a:rPr lang="en-US" dirty="0"/>
              <a:t> </a:t>
            </a:r>
            <a:r>
              <a:rPr lang="en-US" dirty="0" err="1"/>
              <a:t>diceret</a:t>
            </a:r>
            <a:r>
              <a:rPr lang="en-US" dirty="0"/>
              <a:t>, cum et </a:t>
            </a:r>
            <a:r>
              <a:rPr lang="en-US" dirty="0" err="1"/>
              <a:t>atqui</a:t>
            </a:r>
            <a:r>
              <a:rPr lang="en-US" dirty="0"/>
              <a:t> </a:t>
            </a:r>
            <a:r>
              <a:rPr lang="en-US" dirty="0" err="1"/>
              <a:t>placerat</a:t>
            </a:r>
            <a:r>
              <a:rPr lang="en-US" dirty="0"/>
              <a:t> </a:t>
            </a:r>
            <a:r>
              <a:rPr lang="en-US" dirty="0" err="1"/>
              <a:t>petentium</a:t>
            </a:r>
            <a:r>
              <a:rPr lang="en-US" dirty="0"/>
              <a:t>. Per </a:t>
            </a:r>
            <a:r>
              <a:rPr lang="en-US" dirty="0" err="1"/>
              <a:t>amet</a:t>
            </a:r>
            <a:r>
              <a:rPr lang="en-US" dirty="0"/>
              <a:t> </a:t>
            </a:r>
            <a:r>
              <a:rPr lang="en-US" dirty="0" err="1"/>
              <a:t>nonumy</a:t>
            </a:r>
            <a:r>
              <a:rPr lang="en-US" dirty="0"/>
              <a:t> </a:t>
            </a:r>
            <a:r>
              <a:rPr lang="en-US" dirty="0" err="1"/>
              <a:t>periculis</a:t>
            </a:r>
            <a:r>
              <a:rPr lang="en-US" dirty="0"/>
              <a:t> </a:t>
            </a:r>
            <a:r>
              <a:rPr lang="en-US" dirty="0" err="1"/>
              <a:t>ei</a:t>
            </a:r>
            <a:r>
              <a:rPr lang="en-US" dirty="0"/>
              <a:t>. </a:t>
            </a:r>
            <a:r>
              <a:rPr lang="en-US" dirty="0" err="1"/>
              <a:t>Deleniti</a:t>
            </a:r>
            <a:r>
              <a:rPr lang="en-US" dirty="0"/>
              <a:t> and </a:t>
            </a:r>
            <a:r>
              <a:rPr lang="en-US" dirty="0" err="1"/>
              <a:t>apeirian</a:t>
            </a:r>
            <a:r>
              <a:rPr lang="en-US" dirty="0"/>
              <a:t> </a:t>
            </a:r>
            <a:r>
              <a:rPr lang="en-US" dirty="0" err="1"/>
              <a:t>temporibus</a:t>
            </a:r>
            <a:r>
              <a:rPr lang="en-US" dirty="0"/>
              <a:t> </a:t>
            </a:r>
            <a:r>
              <a:rPr lang="en-US" dirty="0" err="1"/>
              <a:t>eam</a:t>
            </a:r>
            <a:r>
              <a:rPr lang="en-US" dirty="0"/>
              <a:t> cu.</a:t>
            </a:r>
          </a:p>
        </p:txBody>
      </p:sp>
    </p:spTree>
    <p:extLst>
      <p:ext uri="{BB962C8B-B14F-4D97-AF65-F5344CB8AC3E}">
        <p14:creationId xmlns:p14="http://schemas.microsoft.com/office/powerpoint/2010/main" val="2682793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B">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1970561"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8" name="Picture Placeholder 16"/>
          <p:cNvSpPr>
            <a:spLocks noGrp="1"/>
          </p:cNvSpPr>
          <p:nvPr>
            <p:ph type="pic" sz="quarter" idx="13" hasCustomPrompt="1"/>
          </p:nvPr>
        </p:nvSpPr>
        <p:spPr>
          <a:xfrm>
            <a:off x="4783258"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9" name="Picture Placeholder 16"/>
          <p:cNvSpPr>
            <a:spLocks noGrp="1"/>
          </p:cNvSpPr>
          <p:nvPr>
            <p:ph type="pic" sz="quarter" idx="14" hasCustomPrompt="1"/>
          </p:nvPr>
        </p:nvSpPr>
        <p:spPr>
          <a:xfrm>
            <a:off x="7595956"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0" name="Picture Placeholder 16"/>
          <p:cNvSpPr>
            <a:spLocks noGrp="1"/>
          </p:cNvSpPr>
          <p:nvPr>
            <p:ph type="pic" sz="quarter" idx="15" hasCustomPrompt="1"/>
          </p:nvPr>
        </p:nvSpPr>
        <p:spPr>
          <a:xfrm>
            <a:off x="1970561"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1" name="Picture Placeholder 16"/>
          <p:cNvSpPr>
            <a:spLocks noGrp="1"/>
          </p:cNvSpPr>
          <p:nvPr>
            <p:ph type="pic" sz="quarter" idx="16" hasCustomPrompt="1"/>
          </p:nvPr>
        </p:nvSpPr>
        <p:spPr>
          <a:xfrm>
            <a:off x="4783258"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2" name="Picture Placeholder 16"/>
          <p:cNvSpPr>
            <a:spLocks noGrp="1"/>
          </p:cNvSpPr>
          <p:nvPr>
            <p:ph type="pic" sz="quarter" idx="17" hasCustomPrompt="1"/>
          </p:nvPr>
        </p:nvSpPr>
        <p:spPr>
          <a:xfrm>
            <a:off x="7595956"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16" name="Text Placeholder 3"/>
          <p:cNvSpPr>
            <a:spLocks noGrp="1"/>
          </p:cNvSpPr>
          <p:nvPr>
            <p:ph type="body" sz="quarter" idx="12" hasCustomPrompt="1"/>
          </p:nvPr>
        </p:nvSpPr>
        <p:spPr>
          <a:xfrm>
            <a:off x="1970561" y="5421806"/>
            <a:ext cx="8406352" cy="1058508"/>
          </a:xfrm>
        </p:spPr>
        <p:txBody>
          <a:bodyPr>
            <a:noAutofit/>
          </a:bodyPr>
          <a:lstStyle>
            <a:lvl1pPr marL="0" marR="0" indent="0" algn="ctr" rtl="0">
              <a:lnSpc>
                <a:spcPts val="2300"/>
              </a:lnSpc>
              <a:spcBef>
                <a:spcPts val="0"/>
              </a:spcBef>
              <a:buSzPct val="25000"/>
              <a:buFontTx/>
              <a:buNone/>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ts val="2300"/>
              </a:lnSpc>
              <a:spcBef>
                <a:spcPts val="0"/>
              </a:spcBef>
              <a:buSzPct val="25000"/>
              <a:buNone/>
            </a:pP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endPar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Tree>
    <p:extLst>
      <p:ext uri="{BB962C8B-B14F-4D97-AF65-F5344CB8AC3E}">
        <p14:creationId xmlns:p14="http://schemas.microsoft.com/office/powerpoint/2010/main" val="2335233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C">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764949"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6" name="Picture Placeholder 16"/>
          <p:cNvSpPr>
            <a:spLocks noGrp="1"/>
          </p:cNvSpPr>
          <p:nvPr>
            <p:ph type="pic" sz="quarter" idx="13" hasCustomPrompt="1"/>
          </p:nvPr>
        </p:nvSpPr>
        <p:spPr>
          <a:xfrm>
            <a:off x="4377835"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7" name="Picture Placeholder 16"/>
          <p:cNvSpPr>
            <a:spLocks noGrp="1"/>
          </p:cNvSpPr>
          <p:nvPr>
            <p:ph type="pic" sz="quarter" idx="14" hasCustomPrompt="1"/>
          </p:nvPr>
        </p:nvSpPr>
        <p:spPr>
          <a:xfrm>
            <a:off x="7990720"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36" name="Text Placeholder 3"/>
          <p:cNvSpPr>
            <a:spLocks noGrp="1"/>
          </p:cNvSpPr>
          <p:nvPr>
            <p:ph type="body" sz="quarter" idx="12" hasCustomPrompt="1"/>
          </p:nvPr>
        </p:nvSpPr>
        <p:spPr>
          <a:xfrm>
            <a:off x="804704"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7" name="Text Placeholder 3"/>
          <p:cNvSpPr>
            <a:spLocks noGrp="1"/>
          </p:cNvSpPr>
          <p:nvPr>
            <p:ph type="body" sz="quarter" idx="15" hasCustomPrompt="1"/>
          </p:nvPr>
        </p:nvSpPr>
        <p:spPr>
          <a:xfrm>
            <a:off x="804704"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405911"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9" name="Text Placeholder 3"/>
          <p:cNvSpPr>
            <a:spLocks noGrp="1"/>
          </p:cNvSpPr>
          <p:nvPr>
            <p:ph type="body" sz="quarter" idx="17" hasCustomPrompt="1"/>
          </p:nvPr>
        </p:nvSpPr>
        <p:spPr>
          <a:xfrm>
            <a:off x="4405911"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018796"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41" name="Text Placeholder 3"/>
          <p:cNvSpPr>
            <a:spLocks noGrp="1"/>
          </p:cNvSpPr>
          <p:nvPr>
            <p:ph type="body" sz="quarter" idx="19" hasCustomPrompt="1"/>
          </p:nvPr>
        </p:nvSpPr>
        <p:spPr>
          <a:xfrm>
            <a:off x="8018796"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Tree>
    <p:extLst>
      <p:ext uri="{BB962C8B-B14F-4D97-AF65-F5344CB8AC3E}">
        <p14:creationId xmlns:p14="http://schemas.microsoft.com/office/powerpoint/2010/main" val="1560807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D">
    <p:spTree>
      <p:nvGrpSpPr>
        <p:cNvPr id="1" name=""/>
        <p:cNvGrpSpPr/>
        <p:nvPr/>
      </p:nvGrpSpPr>
      <p:grpSpPr>
        <a:xfrm>
          <a:off x="0" y="0"/>
          <a:ext cx="0" cy="0"/>
          <a:chOff x="0" y="0"/>
          <a:chExt cx="0" cy="0"/>
        </a:xfrm>
      </p:grpSpPr>
      <p:sp>
        <p:nvSpPr>
          <p:cNvPr id="14" name="Rectangle 13"/>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5" name="Rectangle 4"/>
          <p:cNvSpPr/>
          <p:nvPr userDrawn="1"/>
        </p:nvSpPr>
        <p:spPr>
          <a:xfrm>
            <a:off x="0" y="0"/>
            <a:ext cx="12188952" cy="3429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cs typeface="Calibri" panose="020F0502020204030204" pitchFamily="34" charset="0"/>
            </a:endParaRPr>
          </a:p>
        </p:txBody>
      </p:sp>
      <p:sp>
        <p:nvSpPr>
          <p:cNvPr id="36" name="Text Placeholder 3"/>
          <p:cNvSpPr>
            <a:spLocks noGrp="1"/>
          </p:cNvSpPr>
          <p:nvPr>
            <p:ph type="body" sz="quarter" idx="12" hasCustomPrompt="1"/>
          </p:nvPr>
        </p:nvSpPr>
        <p:spPr>
          <a:xfrm>
            <a:off x="584600"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37" name="Text Placeholder 3"/>
          <p:cNvSpPr>
            <a:spLocks noGrp="1"/>
          </p:cNvSpPr>
          <p:nvPr>
            <p:ph type="body" sz="quarter" idx="15" hasCustomPrompt="1"/>
          </p:nvPr>
        </p:nvSpPr>
        <p:spPr>
          <a:xfrm>
            <a:off x="584600"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390968"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39" name="Text Placeholder 3"/>
          <p:cNvSpPr>
            <a:spLocks noGrp="1"/>
          </p:cNvSpPr>
          <p:nvPr>
            <p:ph type="body" sz="quarter" idx="17" hasCustomPrompt="1"/>
          </p:nvPr>
        </p:nvSpPr>
        <p:spPr>
          <a:xfrm>
            <a:off x="4390968"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197337"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41" name="Text Placeholder 3"/>
          <p:cNvSpPr>
            <a:spLocks noGrp="1"/>
          </p:cNvSpPr>
          <p:nvPr>
            <p:ph type="body" sz="quarter" idx="19" hasCustomPrompt="1"/>
          </p:nvPr>
        </p:nvSpPr>
        <p:spPr>
          <a:xfrm>
            <a:off x="8197337"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2" name="Title 1"/>
          <p:cNvSpPr>
            <a:spLocks noGrp="1"/>
          </p:cNvSpPr>
          <p:nvPr>
            <p:ph type="title"/>
          </p:nvPr>
        </p:nvSpPr>
        <p:spPr>
          <a:xfrm>
            <a:off x="599400" y="432274"/>
            <a:ext cx="10993200" cy="696811"/>
          </a:xfrm>
        </p:spPr>
        <p:txBody>
          <a:bodyPr anchor="b"/>
          <a:lstStyle>
            <a:lvl1pPr>
              <a:defRPr sz="3800">
                <a:solidFill>
                  <a:schemeClr val="bg1"/>
                </a:solidFill>
              </a:defRPr>
            </a:lvl1pPr>
          </a:lstStyle>
          <a:p>
            <a:r>
              <a:rPr lang="en-US"/>
              <a:t>Click to edit Master title style</a:t>
            </a:r>
            <a:endParaRPr lang="en-US" dirty="0"/>
          </a:p>
        </p:txBody>
      </p:sp>
      <p:sp>
        <p:nvSpPr>
          <p:cNvPr id="47" name="Text Placeholder 3"/>
          <p:cNvSpPr>
            <a:spLocks noGrp="1"/>
          </p:cNvSpPr>
          <p:nvPr>
            <p:ph type="body" sz="quarter" idx="20" hasCustomPrompt="1"/>
          </p:nvPr>
        </p:nvSpPr>
        <p:spPr>
          <a:xfrm>
            <a:off x="2348285" y="1256304"/>
            <a:ext cx="7495430" cy="771279"/>
          </a:xfrm>
        </p:spPr>
        <p:txBody>
          <a:bodyPr anchor="t"/>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Lorem ipsum dolor sit </a:t>
            </a:r>
            <a:r>
              <a:rPr lang="en-US" dirty="0" err="1"/>
              <a:t>amet</a:t>
            </a:r>
            <a:r>
              <a:rPr lang="en-US" dirty="0"/>
              <a:t>, </a:t>
            </a:r>
            <a:r>
              <a:rPr lang="en-US" dirty="0" err="1"/>
              <a:t>feugiat</a:t>
            </a:r>
            <a:r>
              <a:rPr lang="en-US" dirty="0"/>
              <a:t> </a:t>
            </a:r>
            <a:r>
              <a:rPr lang="en-US" dirty="0" err="1"/>
              <a:t>delicata</a:t>
            </a:r>
            <a:r>
              <a:rPr lang="en-US" dirty="0"/>
              <a:t> </a:t>
            </a:r>
            <a:r>
              <a:rPr lang="en-US" dirty="0" err="1"/>
              <a:t>liberavisse</a:t>
            </a:r>
            <a:r>
              <a:rPr lang="en-US" dirty="0"/>
              <a:t> id cum. No quo maiorum </a:t>
            </a:r>
            <a:r>
              <a:rPr lang="en-US" dirty="0" err="1"/>
              <a:t>intelleget</a:t>
            </a:r>
            <a:r>
              <a:rPr lang="en-US" dirty="0"/>
              <a:t>. </a:t>
            </a:r>
            <a:r>
              <a:rPr lang="en-US" dirty="0" err="1"/>
              <a:t>Mea</a:t>
            </a:r>
            <a:r>
              <a:rPr lang="en-US" dirty="0"/>
              <a:t> cu case </a:t>
            </a:r>
            <a:r>
              <a:rPr lang="en-US" dirty="0" err="1"/>
              <a:t>ludus</a:t>
            </a:r>
            <a:r>
              <a:rPr lang="en-US" dirty="0"/>
              <a:t> </a:t>
            </a:r>
            <a:r>
              <a:rPr lang="en-US" dirty="0" err="1"/>
              <a:t>integre</a:t>
            </a:r>
            <a:endParaRPr lang="en-US" dirty="0"/>
          </a:p>
        </p:txBody>
      </p:sp>
    </p:spTree>
    <p:extLst>
      <p:ext uri="{BB962C8B-B14F-4D97-AF65-F5344CB8AC3E}">
        <p14:creationId xmlns:p14="http://schemas.microsoft.com/office/powerpoint/2010/main" val="3713490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E">
    <p:bg>
      <p:bgRef idx="1001">
        <a:schemeClr val="bg1"/>
      </p:bgRef>
    </p:bg>
    <p:spTree>
      <p:nvGrpSpPr>
        <p:cNvPr id="1" name=""/>
        <p:cNvGrpSpPr/>
        <p:nvPr/>
      </p:nvGrpSpPr>
      <p:grpSpPr>
        <a:xfrm>
          <a:off x="0" y="0"/>
          <a:ext cx="0" cy="0"/>
          <a:chOff x="0" y="0"/>
          <a:chExt cx="0" cy="0"/>
        </a:xfrm>
      </p:grpSpPr>
      <p:sp>
        <p:nvSpPr>
          <p:cNvPr id="39" name="Rectangle 38"/>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38" name="Rectangle 37"/>
          <p:cNvSpPr/>
          <p:nvPr userDrawn="1"/>
        </p:nvSpPr>
        <p:spPr>
          <a:xfrm>
            <a:off x="0" y="0"/>
            <a:ext cx="12188952"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cs typeface="Calibri" panose="020F0502020204030204" pitchFamily="34" charset="0"/>
            </a:endParaRPr>
          </a:p>
        </p:txBody>
      </p:sp>
      <p:sp>
        <p:nvSpPr>
          <p:cNvPr id="2" name="Title 1"/>
          <p:cNvSpPr>
            <a:spLocks noGrp="1"/>
          </p:cNvSpPr>
          <p:nvPr>
            <p:ph type="title"/>
          </p:nvPr>
        </p:nvSpPr>
        <p:spPr>
          <a:xfrm>
            <a:off x="599400" y="432274"/>
            <a:ext cx="10993200" cy="696811"/>
          </a:xfrm>
        </p:spPr>
        <p:txBody>
          <a:bodyPr anchor="b"/>
          <a:lstStyle>
            <a:lvl1pPr>
              <a:defRPr sz="3800">
                <a:solidFill>
                  <a:schemeClr val="bg1"/>
                </a:solidFill>
              </a:defRPr>
            </a:lvl1pPr>
          </a:lstStyle>
          <a:p>
            <a:r>
              <a:rPr lang="en-US"/>
              <a:t>Click to edit Master title style</a:t>
            </a:r>
            <a:endParaRPr lang="en-US" dirty="0"/>
          </a:p>
        </p:txBody>
      </p:sp>
      <p:sp>
        <p:nvSpPr>
          <p:cNvPr id="47" name="Text Placeholder 3"/>
          <p:cNvSpPr>
            <a:spLocks noGrp="1"/>
          </p:cNvSpPr>
          <p:nvPr>
            <p:ph type="body" sz="quarter" idx="20" hasCustomPrompt="1"/>
          </p:nvPr>
        </p:nvSpPr>
        <p:spPr>
          <a:xfrm>
            <a:off x="2348285" y="1256304"/>
            <a:ext cx="7495430" cy="771279"/>
          </a:xfrm>
        </p:spPr>
        <p:txBody>
          <a:bodyPr anchor="t">
            <a:noAutofit/>
          </a:bodyPr>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Lorem ipsum dolor sit </a:t>
            </a:r>
            <a:r>
              <a:rPr lang="en-US" dirty="0" err="1"/>
              <a:t>amet</a:t>
            </a:r>
            <a:r>
              <a:rPr lang="en-US" dirty="0"/>
              <a:t>, </a:t>
            </a:r>
            <a:r>
              <a:rPr lang="en-US" dirty="0" err="1"/>
              <a:t>feugiat</a:t>
            </a:r>
            <a:r>
              <a:rPr lang="en-US" dirty="0"/>
              <a:t> </a:t>
            </a:r>
            <a:r>
              <a:rPr lang="en-US" dirty="0" err="1"/>
              <a:t>delicata</a:t>
            </a:r>
            <a:r>
              <a:rPr lang="en-US" dirty="0"/>
              <a:t> </a:t>
            </a:r>
            <a:r>
              <a:rPr lang="en-US" dirty="0" err="1"/>
              <a:t>liberavisse</a:t>
            </a:r>
            <a:r>
              <a:rPr lang="en-US" dirty="0"/>
              <a:t> id cum. No quo maiorum </a:t>
            </a:r>
            <a:r>
              <a:rPr lang="en-US" dirty="0" err="1"/>
              <a:t>intelleget</a:t>
            </a:r>
            <a:r>
              <a:rPr lang="en-US" dirty="0"/>
              <a:t>. </a:t>
            </a:r>
            <a:r>
              <a:rPr lang="en-US" dirty="0" err="1"/>
              <a:t>Mea</a:t>
            </a:r>
            <a:r>
              <a:rPr lang="en-US" dirty="0"/>
              <a:t> cu case </a:t>
            </a:r>
            <a:r>
              <a:rPr lang="en-US" dirty="0" err="1"/>
              <a:t>ludus</a:t>
            </a:r>
            <a:r>
              <a:rPr lang="en-US" dirty="0"/>
              <a:t> </a:t>
            </a:r>
            <a:r>
              <a:rPr lang="en-US" dirty="0" err="1"/>
              <a:t>integre</a:t>
            </a:r>
            <a:endParaRPr lang="en-US" dirty="0"/>
          </a:p>
        </p:txBody>
      </p:sp>
      <p:sp>
        <p:nvSpPr>
          <p:cNvPr id="12" name="TextBox 11"/>
          <p:cNvSpPr txBox="1"/>
          <p:nvPr userDrawn="1"/>
        </p:nvSpPr>
        <p:spPr>
          <a:xfrm>
            <a:off x="10831347" y="6449921"/>
            <a:ext cx="713422" cy="230832"/>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z="1200" smtClean="0">
                <a:solidFill>
                  <a:srgbClr val="000000">
                    <a:lumMod val="50000"/>
                    <a:lumOff val="50000"/>
                  </a:srgbClr>
                </a:solidFill>
              </a:rPr>
              <a:pPr algn="r">
                <a:lnSpc>
                  <a:spcPct val="125000"/>
                </a:lnSpc>
              </a:pPr>
              <a:t>‹#›</a:t>
            </a:fld>
            <a:endParaRPr lang="en-US" sz="1200" dirty="0">
              <a:solidFill>
                <a:srgbClr val="000000">
                  <a:lumMod val="50000"/>
                  <a:lumOff val="50000"/>
                </a:srgbClr>
              </a:solidFill>
            </a:endParaRPr>
          </a:p>
        </p:txBody>
      </p:sp>
      <p:grpSp>
        <p:nvGrpSpPr>
          <p:cNvPr id="13" name="Group 12"/>
          <p:cNvGrpSpPr/>
          <p:nvPr userDrawn="1"/>
        </p:nvGrpSpPr>
        <p:grpSpPr>
          <a:xfrm>
            <a:off x="651760" y="6127845"/>
            <a:ext cx="880164" cy="507267"/>
            <a:chOff x="1768475" y="3789363"/>
            <a:chExt cx="3098800" cy="1785938"/>
          </a:xfrm>
        </p:grpSpPr>
        <p:sp>
          <p:nvSpPr>
            <p:cNvPr id="14"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7" name="Text Placeholder 3"/>
          <p:cNvSpPr>
            <a:spLocks noGrp="1"/>
          </p:cNvSpPr>
          <p:nvPr>
            <p:ph type="body" sz="quarter" idx="21" hasCustomPrompt="1"/>
          </p:nvPr>
        </p:nvSpPr>
        <p:spPr>
          <a:xfrm>
            <a:off x="2576887" y="4805553"/>
            <a:ext cx="7050024" cy="950976"/>
          </a:xfrm>
        </p:spPr>
        <p:txBody>
          <a:bodyPr anchor="t">
            <a:noAutofit/>
          </a:bodyPr>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Lorem ipsum dolor sit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amet</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feugiat</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delicata</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liberavisse</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id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cem</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No quo maiorum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intelleget</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Mea cu case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ludus</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a:ln>
                  <a:noFill/>
                </a:ln>
                <a:solidFill>
                  <a:srgbClr val="708090">
                    <a:lumMod val="60000"/>
                    <a:lumOff val="40000"/>
                  </a:srgbClr>
                </a:solidFill>
                <a:effectLst/>
                <a:uLnTx/>
                <a:uFillTx/>
                <a:latin typeface="Calibri" panose="020F0502020204030204"/>
                <a:ea typeface="+mn-ea"/>
                <a:cs typeface="+mn-cs"/>
              </a:rPr>
              <a:t>integre</a:t>
            </a:r>
            <a:r>
              <a:rPr kumimoji="0" lang="en-US" sz="1700" b="0" i="0" u="none" strike="noStrike" kern="1200" cap="none" spc="0" normalizeH="0" baseline="0" noProof="0" dirty="0">
                <a:ln>
                  <a:noFill/>
                </a:ln>
                <a:solidFill>
                  <a:srgbClr val="708090">
                    <a:lumMod val="60000"/>
                    <a:lumOff val="40000"/>
                  </a:srgbClr>
                </a:solidFill>
                <a:effectLst/>
                <a:uLnTx/>
                <a:uFillTx/>
                <a:latin typeface="Calibri" panose="020F0502020204030204"/>
                <a:ea typeface="+mn-ea"/>
                <a:cs typeface="+mn-cs"/>
              </a:rPr>
              <a:t>. quo maiorum quo maiorum quo maiorum</a:t>
            </a:r>
            <a:endParaRPr lang="en-US" dirty="0"/>
          </a:p>
        </p:txBody>
      </p:sp>
    </p:spTree>
    <p:extLst>
      <p:ext uri="{BB962C8B-B14F-4D97-AF65-F5344CB8AC3E}">
        <p14:creationId xmlns:p14="http://schemas.microsoft.com/office/powerpoint/2010/main" val="225289933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G">
    <p:spTree>
      <p:nvGrpSpPr>
        <p:cNvPr id="1" name=""/>
        <p:cNvGrpSpPr/>
        <p:nvPr/>
      </p:nvGrpSpPr>
      <p:grpSpPr>
        <a:xfrm>
          <a:off x="0" y="0"/>
          <a:ext cx="0" cy="0"/>
          <a:chOff x="0" y="0"/>
          <a:chExt cx="0" cy="0"/>
        </a:xfrm>
      </p:grpSpPr>
      <p:sp>
        <p:nvSpPr>
          <p:cNvPr id="43" name="Shape 516"/>
          <p:cNvSpPr/>
          <p:nvPr userDrawn="1"/>
        </p:nvSpPr>
        <p:spPr>
          <a:xfrm>
            <a:off x="1" y="1"/>
            <a:ext cx="12192000" cy="2631882"/>
          </a:xfrm>
          <a:custGeom>
            <a:avLst/>
            <a:gdLst/>
            <a:ahLst/>
            <a:cxnLst/>
            <a:rect l="0" t="0" r="0" b="0"/>
            <a:pathLst>
              <a:path w="120000" h="120000" extrusionOk="0">
                <a:moveTo>
                  <a:pt x="0" y="0"/>
                </a:moveTo>
                <a:lnTo>
                  <a:pt x="120000" y="0"/>
                </a:lnTo>
                <a:lnTo>
                  <a:pt x="120000" y="88902"/>
                </a:lnTo>
                <a:lnTo>
                  <a:pt x="71600" y="115370"/>
                </a:lnTo>
                <a:cubicBezTo>
                  <a:pt x="60294" y="121936"/>
                  <a:pt x="59938" y="121301"/>
                  <a:pt x="48233" y="114834"/>
                </a:cubicBezTo>
                <a:lnTo>
                  <a:pt x="0" y="88902"/>
                </a:lnTo>
                <a:close/>
              </a:path>
            </a:pathLst>
          </a:cu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sp>
        <p:nvSpPr>
          <p:cNvPr id="36" name="Text Placeholder 3"/>
          <p:cNvSpPr>
            <a:spLocks noGrp="1"/>
          </p:cNvSpPr>
          <p:nvPr>
            <p:ph type="body" sz="quarter" idx="12" hasCustomPrompt="1"/>
          </p:nvPr>
        </p:nvSpPr>
        <p:spPr>
          <a:xfrm>
            <a:off x="595911"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7" name="Text Placeholder 3"/>
          <p:cNvSpPr>
            <a:spLocks noGrp="1"/>
          </p:cNvSpPr>
          <p:nvPr>
            <p:ph type="body" sz="quarter" idx="15" hasCustomPrompt="1"/>
          </p:nvPr>
        </p:nvSpPr>
        <p:spPr>
          <a:xfrm>
            <a:off x="595911"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382058"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9" name="Text Placeholder 3"/>
          <p:cNvSpPr>
            <a:spLocks noGrp="1"/>
          </p:cNvSpPr>
          <p:nvPr>
            <p:ph type="body" sz="quarter" idx="17" hasCustomPrompt="1"/>
          </p:nvPr>
        </p:nvSpPr>
        <p:spPr>
          <a:xfrm>
            <a:off x="4382058"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181614"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41" name="Text Placeholder 3"/>
          <p:cNvSpPr>
            <a:spLocks noGrp="1"/>
          </p:cNvSpPr>
          <p:nvPr>
            <p:ph type="body" sz="quarter" idx="19" hasCustomPrompt="1"/>
          </p:nvPr>
        </p:nvSpPr>
        <p:spPr>
          <a:xfrm>
            <a:off x="8181614"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4" name="Shape 377"/>
          <p:cNvSpPr/>
          <p:nvPr userDrawn="1"/>
        </p:nvSpPr>
        <p:spPr>
          <a:xfrm>
            <a:off x="4634820" y="0"/>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sp>
        <p:nvSpPr>
          <p:cNvPr id="2" name="Title 1"/>
          <p:cNvSpPr>
            <a:spLocks noGrp="1"/>
          </p:cNvSpPr>
          <p:nvPr>
            <p:ph type="title"/>
          </p:nvPr>
        </p:nvSpPr>
        <p:spPr>
          <a:xfrm>
            <a:off x="599400" y="607202"/>
            <a:ext cx="10993200" cy="601396"/>
          </a:xfrm>
        </p:spPr>
        <p:txBody>
          <a:bodyPr anchor="b"/>
          <a:lstStyle>
            <a:lvl1pPr>
              <a:defRPr sz="3800">
                <a:solidFill>
                  <a:schemeClr val="bg1"/>
                </a:solidFill>
              </a:defRPr>
            </a:lvl1pPr>
          </a:lstStyle>
          <a:p>
            <a:r>
              <a:rPr lang="en-US"/>
              <a:t>Click to edit Master title style</a:t>
            </a:r>
            <a:endParaRPr lang="en-US" dirty="0"/>
          </a:p>
        </p:txBody>
      </p:sp>
      <p:sp>
        <p:nvSpPr>
          <p:cNvPr id="49" name="Text Placeholder 3"/>
          <p:cNvSpPr>
            <a:spLocks noGrp="1"/>
          </p:cNvSpPr>
          <p:nvPr>
            <p:ph type="body" sz="quarter" idx="20" hasCustomPrompt="1"/>
          </p:nvPr>
        </p:nvSpPr>
        <p:spPr>
          <a:xfrm>
            <a:off x="2348285" y="1319915"/>
            <a:ext cx="7495430" cy="620204"/>
          </a:xfrm>
        </p:spPr>
        <p:txBody>
          <a:bodyPr anchor="t"/>
          <a:lstStyle>
            <a:lvl1pPr marL="0" indent="0" algn="ctr">
              <a:lnSpc>
                <a:spcPts val="2200"/>
              </a:lnSpc>
              <a:buFontTx/>
              <a:buNone/>
              <a:defRPr sz="28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Subtitle headline goes here</a:t>
            </a:r>
          </a:p>
        </p:txBody>
      </p:sp>
    </p:spTree>
    <p:extLst>
      <p:ext uri="{BB962C8B-B14F-4D97-AF65-F5344CB8AC3E}">
        <p14:creationId xmlns:p14="http://schemas.microsoft.com/office/powerpoint/2010/main" val="11006356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H">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981063" y="1474025"/>
            <a:ext cx="5030123" cy="1168972"/>
          </a:xfrm>
        </p:spPr>
        <p:txBody>
          <a:bodyPr anchor="b"/>
          <a:lstStyle>
            <a:lvl1pPr algn="l">
              <a:lnSpc>
                <a:spcPct val="100000"/>
              </a:lnSpc>
              <a:defRPr sz="48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981738" y="2957027"/>
            <a:ext cx="5029505" cy="2030609"/>
          </a:xfrm>
        </p:spPr>
        <p:txBody>
          <a:bodyPr>
            <a:noAutofit/>
          </a:bodyPr>
          <a:lstStyle>
            <a:lvl1pPr marL="0" marR="0" indent="0" algn="l" rtl="0">
              <a:lnSpc>
                <a:spcPts val="2300"/>
              </a:lnSpc>
              <a:spcBef>
                <a:spcPts val="1200"/>
              </a:spcBef>
              <a:spcAft>
                <a:spcPts val="0"/>
              </a:spcAft>
              <a:buSzPct val="25000"/>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l" rtl="0">
              <a:lnSpc>
                <a:spcPts val="2300"/>
              </a:lnSpc>
              <a:spcBef>
                <a:spcPts val="0"/>
              </a:spcBef>
              <a:spcAft>
                <a:spcPts val="0"/>
              </a:spcAft>
              <a:buSzPct val="25000"/>
              <a:buNone/>
            </a:pP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Lorem ipsum dolor si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amet</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feugiat</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delicata</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liberavisse</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id cum. </a:t>
            </a:r>
          </a:p>
          <a:p>
            <a:pPr marL="0" marR="0" lvl="0" indent="0" algn="l" rtl="0">
              <a:lnSpc>
                <a:spcPts val="2300"/>
              </a:lnSpc>
              <a:spcBef>
                <a:spcPts val="1200"/>
              </a:spcBef>
              <a:buSzPct val="25000"/>
              <a:buNone/>
            </a:pP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m e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peirian</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temporib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a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p>
          <a:p>
            <a:pPr lvl="0"/>
            <a:endParaRPr lang="en-US" dirty="0"/>
          </a:p>
        </p:txBody>
      </p:sp>
      <p:cxnSp>
        <p:nvCxnSpPr>
          <p:cNvPr id="13" name="Straight Connector 12"/>
          <p:cNvCxnSpPr/>
          <p:nvPr userDrawn="1"/>
        </p:nvCxnSpPr>
        <p:spPr>
          <a:xfrm>
            <a:off x="993913" y="2798859"/>
            <a:ext cx="4659465" cy="0"/>
          </a:xfrm>
          <a:prstGeom prst="line">
            <a:avLst/>
          </a:prstGeom>
          <a:ln w="12700" cap="rnd">
            <a:solidFill>
              <a:schemeClr val="bg2">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842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I">
    <p:spTree>
      <p:nvGrpSpPr>
        <p:cNvPr id="1" name=""/>
        <p:cNvGrpSpPr/>
        <p:nvPr/>
      </p:nvGrpSpPr>
      <p:grpSpPr>
        <a:xfrm>
          <a:off x="0" y="0"/>
          <a:ext cx="0" cy="0"/>
          <a:chOff x="0" y="0"/>
          <a:chExt cx="0" cy="0"/>
        </a:xfrm>
      </p:grpSpPr>
      <p:sp>
        <p:nvSpPr>
          <p:cNvPr id="16" name="Text Placeholder 4"/>
          <p:cNvSpPr>
            <a:spLocks noGrp="1"/>
          </p:cNvSpPr>
          <p:nvPr>
            <p:ph type="body" sz="quarter" idx="13" hasCustomPrompt="1"/>
          </p:nvPr>
        </p:nvSpPr>
        <p:spPr>
          <a:xfrm>
            <a:off x="8830049" y="4152899"/>
            <a:ext cx="2432304" cy="956427"/>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15" name="Text Placeholder 4"/>
          <p:cNvSpPr>
            <a:spLocks noGrp="1"/>
          </p:cNvSpPr>
          <p:nvPr>
            <p:ph type="body" sz="quarter" idx="12" hasCustomPrompt="1"/>
          </p:nvPr>
        </p:nvSpPr>
        <p:spPr>
          <a:xfrm>
            <a:off x="6234443" y="4152900"/>
            <a:ext cx="2432304" cy="956654"/>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12" name="Text Placeholder 4"/>
          <p:cNvSpPr>
            <a:spLocks noGrp="1"/>
          </p:cNvSpPr>
          <p:nvPr>
            <p:ph type="body" sz="quarter" idx="11" hasCustomPrompt="1"/>
          </p:nvPr>
        </p:nvSpPr>
        <p:spPr>
          <a:xfrm>
            <a:off x="3532374" y="4152900"/>
            <a:ext cx="2432304" cy="958404"/>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5" name="Text Placeholder 4"/>
          <p:cNvSpPr>
            <a:spLocks noGrp="1"/>
          </p:cNvSpPr>
          <p:nvPr>
            <p:ph type="body" sz="quarter" idx="10" hasCustomPrompt="1"/>
          </p:nvPr>
        </p:nvSpPr>
        <p:spPr>
          <a:xfrm>
            <a:off x="917831" y="4152899"/>
            <a:ext cx="2432304" cy="957075"/>
          </a:xfrm>
        </p:spPr>
        <p:txBody>
          <a:bodyPr/>
          <a:lstStyle>
            <a:lvl1pPr marL="0" marR="0" indent="0" algn="ctr" rtl="0">
              <a:spcBef>
                <a:spcPts val="600"/>
              </a:spcBef>
              <a:spcAft>
                <a:spcPts val="0"/>
              </a:spcAft>
              <a:buSzPct val="25000"/>
              <a:buNone/>
              <a:defRPr sz="3200">
                <a:solidFill>
                  <a:schemeClr val="tx1">
                    <a:lumMod val="85000"/>
                    <a:lumOff val="15000"/>
                  </a:schemeClr>
                </a:solidFill>
              </a:defRPr>
            </a:lvl1pPr>
          </a:lstStyle>
          <a:p>
            <a:pPr lvl="0" algn="ctr">
              <a:spcBef>
                <a:spcPts val="600"/>
              </a:spcBef>
              <a:buSzPct val="25000"/>
            </a:pPr>
            <a:r>
              <a:rPr lang="en-US" sz="2000" dirty="0">
                <a:solidFill>
                  <a:schemeClr val="tx1">
                    <a:lumMod val="85000"/>
                    <a:lumOff val="15000"/>
                  </a:schemeClr>
                </a:solidFill>
                <a:ea typeface="Nunito"/>
                <a:cs typeface="Nunito"/>
                <a:sym typeface="Nunito"/>
              </a:rPr>
              <a:t>ipsum dolor </a:t>
            </a:r>
          </a:p>
        </p:txBody>
      </p:sp>
      <p:sp>
        <p:nvSpPr>
          <p:cNvPr id="3" name="Rectangle 2"/>
          <p:cNvSpPr/>
          <p:nvPr userDrawn="1"/>
        </p:nvSpPr>
        <p:spPr>
          <a:xfrm>
            <a:off x="4025891" y="0"/>
            <a:ext cx="3989024" cy="432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13" name="Shape 626"/>
          <p:cNvSpPr>
            <a:spLocks noChangeAspect="1"/>
          </p:cNvSpPr>
          <p:nvPr/>
        </p:nvSpPr>
        <p:spPr>
          <a:xfrm>
            <a:off x="2834913" y="3"/>
            <a:ext cx="6508690" cy="3983600"/>
          </a:xfrm>
          <a:custGeom>
            <a:avLst/>
            <a:gdLst/>
            <a:ahLst/>
            <a:cxnLst/>
            <a:rect l="0" t="0" r="0" b="0"/>
            <a:pathLst>
              <a:path w="120000" h="120000" extrusionOk="0">
                <a:moveTo>
                  <a:pt x="0" y="0"/>
                </a:moveTo>
                <a:lnTo>
                  <a:pt x="120000" y="0"/>
                </a:lnTo>
                <a:lnTo>
                  <a:pt x="120000" y="60154"/>
                </a:lnTo>
                <a:lnTo>
                  <a:pt x="120000" y="61237"/>
                </a:lnTo>
                <a:lnTo>
                  <a:pt x="119912" y="62402"/>
                </a:lnTo>
                <a:lnTo>
                  <a:pt x="119516" y="64816"/>
                </a:lnTo>
                <a:lnTo>
                  <a:pt x="119033" y="66980"/>
                </a:lnTo>
                <a:lnTo>
                  <a:pt x="118243" y="69227"/>
                </a:lnTo>
                <a:lnTo>
                  <a:pt x="117320" y="71308"/>
                </a:lnTo>
                <a:lnTo>
                  <a:pt x="116266" y="73222"/>
                </a:lnTo>
                <a:lnTo>
                  <a:pt x="115168" y="74887"/>
                </a:lnTo>
                <a:lnTo>
                  <a:pt x="114465" y="75636"/>
                </a:lnTo>
                <a:lnTo>
                  <a:pt x="113894" y="76219"/>
                </a:lnTo>
                <a:lnTo>
                  <a:pt x="66105" y="117752"/>
                </a:lnTo>
                <a:lnTo>
                  <a:pt x="65534" y="118252"/>
                </a:lnTo>
                <a:lnTo>
                  <a:pt x="64831" y="118668"/>
                </a:lnTo>
                <a:lnTo>
                  <a:pt x="63250" y="119417"/>
                </a:lnTo>
                <a:lnTo>
                  <a:pt x="61669" y="119833"/>
                </a:lnTo>
                <a:lnTo>
                  <a:pt x="60000" y="120000"/>
                </a:lnTo>
                <a:lnTo>
                  <a:pt x="58330" y="119833"/>
                </a:lnTo>
                <a:lnTo>
                  <a:pt x="56749" y="119417"/>
                </a:lnTo>
                <a:lnTo>
                  <a:pt x="55168" y="118668"/>
                </a:lnTo>
                <a:lnTo>
                  <a:pt x="54465" y="118252"/>
                </a:lnTo>
                <a:lnTo>
                  <a:pt x="53894" y="117752"/>
                </a:lnTo>
                <a:lnTo>
                  <a:pt x="6105" y="76219"/>
                </a:lnTo>
                <a:lnTo>
                  <a:pt x="5534" y="75636"/>
                </a:lnTo>
                <a:lnTo>
                  <a:pt x="4831" y="74887"/>
                </a:lnTo>
                <a:lnTo>
                  <a:pt x="3733" y="73222"/>
                </a:lnTo>
                <a:lnTo>
                  <a:pt x="2679" y="71308"/>
                </a:lnTo>
                <a:lnTo>
                  <a:pt x="1756" y="69227"/>
                </a:lnTo>
                <a:lnTo>
                  <a:pt x="966" y="66980"/>
                </a:lnTo>
                <a:lnTo>
                  <a:pt x="395" y="64816"/>
                </a:lnTo>
                <a:lnTo>
                  <a:pt x="87" y="62402"/>
                </a:lnTo>
                <a:lnTo>
                  <a:pt x="0" y="61237"/>
                </a:lnTo>
                <a:lnTo>
                  <a:pt x="0" y="60154"/>
                </a:lnTo>
                <a:close/>
              </a:path>
            </a:pathLst>
          </a:custGeom>
          <a:solidFill>
            <a:schemeClr val="accent4">
              <a:lumMod val="40000"/>
              <a:lumOff val="60000"/>
            </a:schemeClr>
          </a:solidFill>
          <a:ln>
            <a:noFill/>
          </a:ln>
        </p:spPr>
        <p:txBody>
          <a:bodyPr/>
          <a:lstStyle/>
          <a:p>
            <a:endParaRPr lang="en-US" dirty="0">
              <a:solidFill>
                <a:srgbClr val="000000"/>
              </a:solidFill>
            </a:endParaRPr>
          </a:p>
        </p:txBody>
      </p:sp>
      <p:sp>
        <p:nvSpPr>
          <p:cNvPr id="14" name="Shape 627"/>
          <p:cNvSpPr>
            <a:spLocks noChangeAspect="1"/>
          </p:cNvSpPr>
          <p:nvPr/>
        </p:nvSpPr>
        <p:spPr>
          <a:xfrm rot="16200000">
            <a:off x="4524558" y="608840"/>
            <a:ext cx="3129398" cy="3026101"/>
          </a:xfrm>
          <a:custGeom>
            <a:avLst/>
            <a:gdLst/>
            <a:ahLst/>
            <a:cxnLst/>
            <a:rect l="0" t="0" r="0" b="0"/>
            <a:pathLst>
              <a:path w="120000" h="120000" extrusionOk="0">
                <a:moveTo>
                  <a:pt x="35418" y="119999"/>
                </a:moveTo>
                <a:lnTo>
                  <a:pt x="35418" y="119999"/>
                </a:lnTo>
                <a:lnTo>
                  <a:pt x="34778" y="119999"/>
                </a:lnTo>
                <a:lnTo>
                  <a:pt x="34088" y="119912"/>
                </a:lnTo>
                <a:lnTo>
                  <a:pt x="32660" y="119516"/>
                </a:lnTo>
                <a:lnTo>
                  <a:pt x="31379" y="119033"/>
                </a:lnTo>
                <a:lnTo>
                  <a:pt x="30049" y="118243"/>
                </a:lnTo>
                <a:lnTo>
                  <a:pt x="28817" y="117320"/>
                </a:lnTo>
                <a:lnTo>
                  <a:pt x="27684" y="116266"/>
                </a:lnTo>
                <a:lnTo>
                  <a:pt x="26699" y="115168"/>
                </a:lnTo>
                <a:lnTo>
                  <a:pt x="26256" y="114465"/>
                </a:lnTo>
                <a:lnTo>
                  <a:pt x="25911" y="113894"/>
                </a:lnTo>
                <a:lnTo>
                  <a:pt x="1330" y="66105"/>
                </a:lnTo>
                <a:lnTo>
                  <a:pt x="1330" y="66105"/>
                </a:lnTo>
                <a:lnTo>
                  <a:pt x="1034" y="65534"/>
                </a:lnTo>
                <a:lnTo>
                  <a:pt x="788" y="64831"/>
                </a:lnTo>
                <a:lnTo>
                  <a:pt x="344" y="63250"/>
                </a:lnTo>
                <a:lnTo>
                  <a:pt x="98" y="61669"/>
                </a:lnTo>
                <a:lnTo>
                  <a:pt x="0" y="59999"/>
                </a:lnTo>
                <a:lnTo>
                  <a:pt x="98" y="58330"/>
                </a:lnTo>
                <a:lnTo>
                  <a:pt x="344" y="56749"/>
                </a:lnTo>
                <a:lnTo>
                  <a:pt x="788" y="55168"/>
                </a:lnTo>
                <a:lnTo>
                  <a:pt x="1034" y="54465"/>
                </a:lnTo>
                <a:lnTo>
                  <a:pt x="1330" y="53894"/>
                </a:lnTo>
                <a:lnTo>
                  <a:pt x="25911" y="6105"/>
                </a:lnTo>
                <a:lnTo>
                  <a:pt x="25911" y="6105"/>
                </a:lnTo>
                <a:lnTo>
                  <a:pt x="26256" y="5534"/>
                </a:lnTo>
                <a:lnTo>
                  <a:pt x="26699" y="4831"/>
                </a:lnTo>
                <a:lnTo>
                  <a:pt x="27684" y="3733"/>
                </a:lnTo>
                <a:lnTo>
                  <a:pt x="28817" y="2679"/>
                </a:lnTo>
                <a:lnTo>
                  <a:pt x="30049" y="1756"/>
                </a:lnTo>
                <a:lnTo>
                  <a:pt x="31379" y="966"/>
                </a:lnTo>
                <a:lnTo>
                  <a:pt x="32660" y="395"/>
                </a:lnTo>
                <a:lnTo>
                  <a:pt x="34088" y="87"/>
                </a:lnTo>
                <a:lnTo>
                  <a:pt x="34778" y="0"/>
                </a:lnTo>
                <a:lnTo>
                  <a:pt x="35418" y="0"/>
                </a:lnTo>
                <a:lnTo>
                  <a:pt x="84581" y="0"/>
                </a:lnTo>
                <a:lnTo>
                  <a:pt x="84581" y="0"/>
                </a:lnTo>
                <a:lnTo>
                  <a:pt x="85221" y="0"/>
                </a:lnTo>
                <a:lnTo>
                  <a:pt x="85911" y="87"/>
                </a:lnTo>
                <a:lnTo>
                  <a:pt x="87339" y="395"/>
                </a:lnTo>
                <a:lnTo>
                  <a:pt x="88620" y="966"/>
                </a:lnTo>
                <a:lnTo>
                  <a:pt x="89950" y="1756"/>
                </a:lnTo>
                <a:lnTo>
                  <a:pt x="91182" y="2679"/>
                </a:lnTo>
                <a:lnTo>
                  <a:pt x="92315" y="3733"/>
                </a:lnTo>
                <a:lnTo>
                  <a:pt x="93300" y="4831"/>
                </a:lnTo>
                <a:lnTo>
                  <a:pt x="93743" y="5534"/>
                </a:lnTo>
                <a:lnTo>
                  <a:pt x="94088" y="6105"/>
                </a:lnTo>
                <a:lnTo>
                  <a:pt x="118669" y="53894"/>
                </a:lnTo>
                <a:lnTo>
                  <a:pt x="118669" y="53894"/>
                </a:lnTo>
                <a:lnTo>
                  <a:pt x="118965" y="54465"/>
                </a:lnTo>
                <a:lnTo>
                  <a:pt x="119211" y="55168"/>
                </a:lnTo>
                <a:lnTo>
                  <a:pt x="119655" y="56749"/>
                </a:lnTo>
                <a:lnTo>
                  <a:pt x="119901" y="58330"/>
                </a:lnTo>
                <a:lnTo>
                  <a:pt x="120000" y="59999"/>
                </a:lnTo>
                <a:lnTo>
                  <a:pt x="119901" y="61669"/>
                </a:lnTo>
                <a:lnTo>
                  <a:pt x="119655" y="63250"/>
                </a:lnTo>
                <a:lnTo>
                  <a:pt x="119211" y="64831"/>
                </a:lnTo>
                <a:lnTo>
                  <a:pt x="118965" y="65534"/>
                </a:lnTo>
                <a:lnTo>
                  <a:pt x="118669" y="66105"/>
                </a:lnTo>
                <a:lnTo>
                  <a:pt x="94088" y="113894"/>
                </a:lnTo>
                <a:lnTo>
                  <a:pt x="94088" y="113894"/>
                </a:lnTo>
                <a:lnTo>
                  <a:pt x="93743" y="114465"/>
                </a:lnTo>
                <a:lnTo>
                  <a:pt x="93300" y="115168"/>
                </a:lnTo>
                <a:lnTo>
                  <a:pt x="92315" y="116266"/>
                </a:lnTo>
                <a:lnTo>
                  <a:pt x="91182" y="117320"/>
                </a:lnTo>
                <a:lnTo>
                  <a:pt x="89950" y="118243"/>
                </a:lnTo>
                <a:lnTo>
                  <a:pt x="88620" y="119033"/>
                </a:lnTo>
                <a:lnTo>
                  <a:pt x="87339" y="119516"/>
                </a:lnTo>
                <a:lnTo>
                  <a:pt x="85911" y="119912"/>
                </a:lnTo>
                <a:lnTo>
                  <a:pt x="85221" y="119999"/>
                </a:lnTo>
                <a:lnTo>
                  <a:pt x="84581" y="119999"/>
                </a:lnTo>
                <a:lnTo>
                  <a:pt x="35418" y="119999"/>
                </a:lnTo>
                <a:close/>
              </a:path>
            </a:pathLst>
          </a:custGeom>
          <a:solidFill>
            <a:schemeClr val="accent4">
              <a:lumMod val="75000"/>
              <a:alpha val="60000"/>
            </a:schemeClr>
          </a:solidFill>
          <a:ln>
            <a:noFill/>
          </a:ln>
        </p:spPr>
        <p:txBody>
          <a:bodyPr wrap="square" lIns="91425" tIns="45700" rIns="91425" bIns="45700" anchor="ctr" anchorCtr="0">
            <a:noAutofit/>
          </a:bodyPr>
          <a:lstStyle/>
          <a:p>
            <a:pPr algn="ctr"/>
            <a:endParaRPr sz="3000">
              <a:solidFill>
                <a:srgbClr val="FFFFFF"/>
              </a:solidFill>
              <a:ea typeface="Nunito Light"/>
              <a:cs typeface="Calibri" panose="020F0502020204030204" pitchFamily="34" charset="0"/>
              <a:sym typeface="Nunito Light"/>
            </a:endParaRPr>
          </a:p>
        </p:txBody>
      </p:sp>
      <p:sp>
        <p:nvSpPr>
          <p:cNvPr id="2" name="Title 1"/>
          <p:cNvSpPr>
            <a:spLocks noGrp="1"/>
          </p:cNvSpPr>
          <p:nvPr userDrawn="1">
            <p:ph type="title" hasCustomPrompt="1"/>
          </p:nvPr>
        </p:nvSpPr>
        <p:spPr>
          <a:xfrm>
            <a:off x="4719371" y="690655"/>
            <a:ext cx="2739772" cy="2862470"/>
          </a:xfrm>
        </p:spPr>
        <p:txBody>
          <a:bodyPr anchor="ctr"/>
          <a:lstStyle>
            <a:lvl1pPr>
              <a:lnSpc>
                <a:spcPct val="100000"/>
              </a:lnSpc>
              <a:defRPr sz="3100" baseline="0">
                <a:solidFill>
                  <a:schemeClr val="bg1"/>
                </a:solidFill>
              </a:defRPr>
            </a:lvl1pPr>
          </a:lstStyle>
          <a:p>
            <a:r>
              <a:rPr lang="en-US" dirty="0"/>
              <a:t>Title Line</a:t>
            </a:r>
            <a:br>
              <a:rPr lang="en-US" dirty="0"/>
            </a:br>
            <a:r>
              <a:rPr lang="en-US" dirty="0"/>
              <a:t>Goes Here</a:t>
            </a:r>
            <a:br>
              <a:rPr lang="en-US" dirty="0"/>
            </a:br>
            <a:r>
              <a:rPr lang="en-US" dirty="0"/>
              <a:t>Title Line</a:t>
            </a:r>
          </a:p>
        </p:txBody>
      </p:sp>
      <p:cxnSp>
        <p:nvCxnSpPr>
          <p:cNvPr id="17" name="Shape 634"/>
          <p:cNvCxnSpPr/>
          <p:nvPr userDrawn="1"/>
        </p:nvCxnSpPr>
        <p:spPr>
          <a:xfrm>
            <a:off x="1137038" y="5171346"/>
            <a:ext cx="9716495" cy="0"/>
          </a:xfrm>
          <a:prstGeom prst="straightConnector1">
            <a:avLst/>
          </a:prstGeom>
          <a:noFill/>
          <a:ln w="9525" cap="flat" cmpd="sng">
            <a:solidFill>
              <a:schemeClr val="accent4">
                <a:lumMod val="60000"/>
                <a:lumOff val="40000"/>
              </a:schemeClr>
            </a:solidFill>
            <a:prstDash val="solid"/>
            <a:miter lim="800000"/>
            <a:headEnd type="none" w="med" len="med"/>
            <a:tailEnd type="none" w="med" len="med"/>
          </a:ln>
        </p:spPr>
      </p:cxnSp>
      <p:sp>
        <p:nvSpPr>
          <p:cNvPr id="11" name="Text Placeholder 10"/>
          <p:cNvSpPr>
            <a:spLocks noGrp="1"/>
          </p:cNvSpPr>
          <p:nvPr>
            <p:ph type="body" sz="quarter" idx="14" hasCustomPrompt="1"/>
          </p:nvPr>
        </p:nvSpPr>
        <p:spPr>
          <a:xfrm>
            <a:off x="1217709" y="5232387"/>
            <a:ext cx="9628632" cy="749808"/>
          </a:xfrm>
        </p:spPr>
        <p:txBody>
          <a:bodyPr>
            <a:noAutofit/>
          </a:bodyPr>
          <a:lstStyle>
            <a:lvl1pPr marL="0" indent="0">
              <a:buNone/>
              <a:defRPr sz="1700">
                <a:solidFill>
                  <a:schemeClr val="tx1">
                    <a:lumMod val="85000"/>
                    <a:lumOff val="15000"/>
                  </a:schemeClr>
                </a:solidFill>
              </a:defRPr>
            </a:lvl1pPr>
            <a:lvl2pPr marL="163703" indent="0">
              <a:buNone/>
              <a:defRPr sz="1700">
                <a:solidFill>
                  <a:schemeClr val="tx1">
                    <a:lumMod val="85000"/>
                    <a:lumOff val="15000"/>
                  </a:schemeClr>
                </a:solidFill>
              </a:defRPr>
            </a:lvl2pPr>
            <a:lvl3pPr marL="347663" indent="0">
              <a:buNone/>
              <a:defRPr sz="1700">
                <a:solidFill>
                  <a:schemeClr val="tx1">
                    <a:lumMod val="85000"/>
                    <a:lumOff val="15000"/>
                  </a:schemeClr>
                </a:solidFill>
              </a:defRPr>
            </a:lvl3pPr>
            <a:lvl4pPr marL="512064" indent="0">
              <a:buNone/>
              <a:defRPr sz="1700">
                <a:solidFill>
                  <a:schemeClr val="tx1">
                    <a:lumMod val="85000"/>
                    <a:lumOff val="15000"/>
                  </a:schemeClr>
                </a:solidFill>
              </a:defRPr>
            </a:lvl4pPr>
            <a:lvl5pPr marL="0" indent="0">
              <a:buFont typeface="Arial" panose="020B0604020202020204" pitchFamily="34" charset="0"/>
              <a:buNone/>
              <a:defRPr sz="1700">
                <a:solidFill>
                  <a:schemeClr val="tx1">
                    <a:lumMod val="85000"/>
                    <a:lumOff val="15000"/>
                  </a:schemeClr>
                </a:solidFill>
              </a:defRPr>
            </a:lvl5pPr>
          </a:lstStyle>
          <a:p>
            <a:pPr lvl="0"/>
            <a:r>
              <a:rPr lang="en-US" sz="1700" dirty="0">
                <a:solidFill>
                  <a:schemeClr val="tx1">
                    <a:lumMod val="85000"/>
                    <a:lumOff val="15000"/>
                  </a:schemeClr>
                </a:solidFill>
                <a:ea typeface="Nunito Light"/>
                <a:cs typeface="Nunito Light"/>
                <a:sym typeface="Nunito Light"/>
              </a:rPr>
              <a:t>Lorem ipsum dolor sit </a:t>
            </a:r>
            <a:r>
              <a:rPr lang="en-US" sz="1700" dirty="0" err="1">
                <a:solidFill>
                  <a:schemeClr val="tx1">
                    <a:lumMod val="85000"/>
                    <a:lumOff val="15000"/>
                  </a:schemeClr>
                </a:solidFill>
                <a:ea typeface="Nunito Light"/>
                <a:cs typeface="Nunito Light"/>
                <a:sym typeface="Nunito Light"/>
              </a:rPr>
              <a:t>amet</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feugiat</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delicata</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liberavisse</a:t>
            </a:r>
            <a:r>
              <a:rPr lang="en-US" sz="1700" dirty="0">
                <a:solidFill>
                  <a:schemeClr val="tx1">
                    <a:lumMod val="85000"/>
                    <a:lumOff val="15000"/>
                  </a:schemeClr>
                </a:solidFill>
                <a:ea typeface="Nunito Light"/>
                <a:cs typeface="Nunito Light"/>
                <a:sym typeface="Nunito Light"/>
              </a:rPr>
              <a:t> id </a:t>
            </a:r>
            <a:r>
              <a:rPr lang="en-US" sz="1700" dirty="0" err="1">
                <a:solidFill>
                  <a:schemeClr val="tx1">
                    <a:lumMod val="85000"/>
                    <a:lumOff val="15000"/>
                  </a:schemeClr>
                </a:solidFill>
                <a:ea typeface="Nunito Light"/>
                <a:cs typeface="Nunito Light"/>
                <a:sym typeface="Nunito Light"/>
              </a:rPr>
              <a:t>cem</a:t>
            </a:r>
            <a:r>
              <a:rPr lang="en-US" sz="1700" dirty="0">
                <a:solidFill>
                  <a:schemeClr val="tx1">
                    <a:lumMod val="85000"/>
                    <a:lumOff val="15000"/>
                  </a:schemeClr>
                </a:solidFill>
                <a:ea typeface="Nunito Light"/>
                <a:cs typeface="Nunito Light"/>
                <a:sym typeface="Nunito Light"/>
              </a:rPr>
              <a:t>. No quo maiorum </a:t>
            </a:r>
            <a:r>
              <a:rPr lang="en-US" sz="1700" dirty="0" err="1">
                <a:solidFill>
                  <a:schemeClr val="tx1">
                    <a:lumMod val="85000"/>
                    <a:lumOff val="15000"/>
                  </a:schemeClr>
                </a:solidFill>
                <a:ea typeface="Nunito Light"/>
                <a:cs typeface="Nunito Light"/>
                <a:sym typeface="Nunito Light"/>
              </a:rPr>
              <a:t>intelleget</a:t>
            </a:r>
            <a:r>
              <a:rPr lang="en-US" sz="1700" dirty="0">
                <a:solidFill>
                  <a:schemeClr val="tx1">
                    <a:lumMod val="85000"/>
                    <a:lumOff val="15000"/>
                  </a:schemeClr>
                </a:solidFill>
                <a:ea typeface="Nunito Light"/>
                <a:cs typeface="Nunito Light"/>
                <a:sym typeface="Nunito Light"/>
              </a:rPr>
              <a:t>. Mea cu case </a:t>
            </a:r>
            <a:r>
              <a:rPr lang="en-US" sz="1700" dirty="0" err="1">
                <a:solidFill>
                  <a:schemeClr val="tx1">
                    <a:lumMod val="85000"/>
                    <a:lumOff val="15000"/>
                  </a:schemeClr>
                </a:solidFill>
                <a:ea typeface="Nunito Light"/>
                <a:cs typeface="Nunito Light"/>
                <a:sym typeface="Nunito Light"/>
              </a:rPr>
              <a:t>ludus</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integre</a:t>
            </a:r>
            <a:r>
              <a:rPr lang="en-US" sz="1700" dirty="0">
                <a:solidFill>
                  <a:schemeClr val="tx1">
                    <a:lumMod val="85000"/>
                    <a:lumOff val="15000"/>
                  </a:schemeClr>
                </a:solidFill>
                <a:ea typeface="Nunito Light"/>
                <a:cs typeface="Nunito Light"/>
                <a:sym typeface="Nunito Light"/>
              </a:rPr>
              <a:t>, vide </a:t>
            </a:r>
            <a:r>
              <a:rPr lang="en-US" sz="1700" dirty="0" err="1">
                <a:solidFill>
                  <a:schemeClr val="tx1">
                    <a:lumMod val="85000"/>
                    <a:lumOff val="15000"/>
                  </a:schemeClr>
                </a:solidFill>
                <a:ea typeface="Nunito Light"/>
                <a:cs typeface="Nunito Light"/>
                <a:sym typeface="Nunito Light"/>
              </a:rPr>
              <a:t>viderer</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eleifend</a:t>
            </a:r>
            <a:r>
              <a:rPr lang="en-US" sz="1700" dirty="0">
                <a:solidFill>
                  <a:schemeClr val="tx1">
                    <a:lumMod val="85000"/>
                    <a:lumOff val="15000"/>
                  </a:schemeClr>
                </a:solidFill>
                <a:ea typeface="Nunito Light"/>
                <a:cs typeface="Nunito Light"/>
                <a:sym typeface="Nunito Light"/>
              </a:rPr>
              <a:t> ex mea. His at </a:t>
            </a:r>
            <a:r>
              <a:rPr lang="en-US" sz="1700" dirty="0" err="1">
                <a:solidFill>
                  <a:schemeClr val="tx1">
                    <a:lumMod val="85000"/>
                    <a:lumOff val="15000"/>
                  </a:schemeClr>
                </a:solidFill>
                <a:ea typeface="Nunito Light"/>
                <a:cs typeface="Nunito Light"/>
                <a:sym typeface="Nunito Light"/>
              </a:rPr>
              <a:t>soluta</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regione</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diceret</a:t>
            </a:r>
            <a:r>
              <a:rPr lang="en-US" sz="1700" dirty="0">
                <a:solidFill>
                  <a:schemeClr val="tx1">
                    <a:lumMod val="85000"/>
                    <a:lumOff val="15000"/>
                  </a:schemeClr>
                </a:solidFill>
                <a:ea typeface="Nunito Light"/>
                <a:cs typeface="Nunito Light"/>
                <a:sym typeface="Nunito Light"/>
              </a:rPr>
              <a:t>, cum et </a:t>
            </a:r>
            <a:r>
              <a:rPr lang="en-US" sz="1700" dirty="0" err="1">
                <a:solidFill>
                  <a:schemeClr val="tx1">
                    <a:lumMod val="85000"/>
                    <a:lumOff val="15000"/>
                  </a:schemeClr>
                </a:solidFill>
                <a:ea typeface="Nunito Light"/>
                <a:cs typeface="Nunito Light"/>
                <a:sym typeface="Nunito Light"/>
              </a:rPr>
              <a:t>atqui</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placerat</a:t>
            </a:r>
            <a:r>
              <a:rPr lang="en-US" sz="1700" dirty="0">
                <a:solidFill>
                  <a:schemeClr val="tx1">
                    <a:lumMod val="85000"/>
                    <a:lumOff val="15000"/>
                  </a:schemeClr>
                </a:solidFill>
                <a:ea typeface="Nunito Light"/>
                <a:cs typeface="Nunito Light"/>
                <a:sym typeface="Nunito Light"/>
              </a:rPr>
              <a:t> </a:t>
            </a:r>
            <a:r>
              <a:rPr lang="en-US" sz="1700" dirty="0" err="1">
                <a:solidFill>
                  <a:schemeClr val="tx1">
                    <a:lumMod val="85000"/>
                    <a:lumOff val="15000"/>
                  </a:schemeClr>
                </a:solidFill>
                <a:ea typeface="Nunito Light"/>
                <a:cs typeface="Nunito Light"/>
                <a:sym typeface="Nunito Light"/>
              </a:rPr>
              <a:t>petentium</a:t>
            </a:r>
            <a:endParaRPr lang="en-US" dirty="0"/>
          </a:p>
        </p:txBody>
      </p:sp>
    </p:spTree>
    <p:extLst>
      <p:ext uri="{BB962C8B-B14F-4D97-AF65-F5344CB8AC3E}">
        <p14:creationId xmlns:p14="http://schemas.microsoft.com/office/powerpoint/2010/main" val="1814764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J">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6499269" y="1150532"/>
            <a:ext cx="5030123" cy="1168972"/>
          </a:xfrm>
        </p:spPr>
        <p:txBody>
          <a:bodyPr anchor="b"/>
          <a:lstStyle>
            <a:lvl1pPr algn="l">
              <a:lnSpc>
                <a:spcPct val="100000"/>
              </a:lnSpc>
              <a:defRPr sz="48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6499944" y="2546103"/>
            <a:ext cx="5029505" cy="1436195"/>
          </a:xfrm>
        </p:spPr>
        <p:txBody>
          <a:bodyPr>
            <a:noAutofit/>
          </a:bodyPr>
          <a:lstStyle>
            <a:lvl1pPr marL="0" marR="0" indent="0" algn="l" rtl="0">
              <a:lnSpc>
                <a:spcPts val="2300"/>
              </a:lnSpc>
              <a:spcBef>
                <a:spcPts val="1200"/>
              </a:spcBef>
              <a:spcAft>
                <a:spcPts val="0"/>
              </a:spcAft>
              <a:buSzPct val="25000"/>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l" rtl="0">
              <a:lnSpc>
                <a:spcPts val="2300"/>
              </a:lnSpc>
              <a:spcBef>
                <a:spcPts val="0"/>
              </a:spcBef>
              <a:spcAft>
                <a:spcPts val="0"/>
              </a:spcAft>
              <a:buSzPct val="25000"/>
              <a:buNone/>
            </a:pP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m e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peirian</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temporib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a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p>
          <a:p>
            <a:pPr lvl="0"/>
            <a:endParaRPr lang="en-US" dirty="0"/>
          </a:p>
        </p:txBody>
      </p:sp>
    </p:spTree>
    <p:extLst>
      <p:ext uri="{BB962C8B-B14F-4D97-AF65-F5344CB8AC3E}">
        <p14:creationId xmlns:p14="http://schemas.microsoft.com/office/powerpoint/2010/main" val="2942547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K">
    <p:spTree>
      <p:nvGrpSpPr>
        <p:cNvPr id="1" name=""/>
        <p:cNvGrpSpPr/>
        <p:nvPr/>
      </p:nvGrpSpPr>
      <p:grpSpPr>
        <a:xfrm>
          <a:off x="0" y="0"/>
          <a:ext cx="0" cy="0"/>
          <a:chOff x="0" y="0"/>
          <a:chExt cx="0" cy="0"/>
        </a:xfrm>
      </p:grpSpPr>
      <p:sp>
        <p:nvSpPr>
          <p:cNvPr id="36" name="Text Placeholder 3"/>
          <p:cNvSpPr>
            <a:spLocks noGrp="1"/>
          </p:cNvSpPr>
          <p:nvPr>
            <p:ph type="body" sz="quarter" idx="12" hasCustomPrompt="1"/>
          </p:nvPr>
        </p:nvSpPr>
        <p:spPr>
          <a:xfrm>
            <a:off x="972133" y="4901434"/>
            <a:ext cx="2666226" cy="708524"/>
          </a:xfrm>
        </p:spPr>
        <p:txBody>
          <a:bodyPr>
            <a:noAutofit/>
          </a:bodyPr>
          <a:lstStyle>
            <a:lvl1pPr marL="0" marR="0" indent="0" algn="l"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37" name="Text Placeholder 3"/>
          <p:cNvSpPr>
            <a:spLocks noGrp="1"/>
          </p:cNvSpPr>
          <p:nvPr>
            <p:ph type="body" sz="quarter" idx="15" hasCustomPrompt="1"/>
          </p:nvPr>
        </p:nvSpPr>
        <p:spPr>
          <a:xfrm>
            <a:off x="584600"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778501" y="4901434"/>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39" name="Text Placeholder 3"/>
          <p:cNvSpPr>
            <a:spLocks noGrp="1"/>
          </p:cNvSpPr>
          <p:nvPr>
            <p:ph type="body" sz="quarter" idx="17" hasCustomPrompt="1"/>
          </p:nvPr>
        </p:nvSpPr>
        <p:spPr>
          <a:xfrm>
            <a:off x="4390968"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584870" y="4901434"/>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41" name="Text Placeholder 3"/>
          <p:cNvSpPr>
            <a:spLocks noGrp="1"/>
          </p:cNvSpPr>
          <p:nvPr>
            <p:ph type="body" sz="quarter" idx="19" hasCustomPrompt="1"/>
          </p:nvPr>
        </p:nvSpPr>
        <p:spPr>
          <a:xfrm>
            <a:off x="8197337"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2" name="Title 1"/>
          <p:cNvSpPr>
            <a:spLocks noGrp="1"/>
          </p:cNvSpPr>
          <p:nvPr>
            <p:ph type="title"/>
          </p:nvPr>
        </p:nvSpPr>
        <p:spPr>
          <a:xfrm>
            <a:off x="599400" y="432274"/>
            <a:ext cx="10993200" cy="952974"/>
          </a:xfrm>
        </p:spPr>
        <p:txBody>
          <a:bodyPr/>
          <a:lstStyle>
            <a:lvl1pPr>
              <a:defRPr sz="3800">
                <a:solidFill>
                  <a:schemeClr val="tx1">
                    <a:lumMod val="85000"/>
                    <a:lumOff val="15000"/>
                  </a:schemeClr>
                </a:solidFill>
              </a:defRPr>
            </a:lvl1pPr>
          </a:lstStyle>
          <a:p>
            <a:r>
              <a:rPr lang="en-US" dirty="0"/>
              <a:t>Click to edit Master title style</a:t>
            </a:r>
          </a:p>
        </p:txBody>
      </p:sp>
      <p:sp>
        <p:nvSpPr>
          <p:cNvPr id="14" name="Text Placeholder 3"/>
          <p:cNvSpPr>
            <a:spLocks noGrp="1"/>
          </p:cNvSpPr>
          <p:nvPr>
            <p:ph type="body" sz="quarter" idx="21" hasCustomPrompt="1"/>
          </p:nvPr>
        </p:nvSpPr>
        <p:spPr>
          <a:xfrm>
            <a:off x="584600"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5" name="Text Placeholder 3"/>
          <p:cNvSpPr>
            <a:spLocks noGrp="1"/>
          </p:cNvSpPr>
          <p:nvPr>
            <p:ph type="body" sz="quarter" idx="22" hasCustomPrompt="1"/>
          </p:nvPr>
        </p:nvSpPr>
        <p:spPr>
          <a:xfrm>
            <a:off x="4778501"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16" name="Text Placeholder 3"/>
          <p:cNvSpPr>
            <a:spLocks noGrp="1"/>
          </p:cNvSpPr>
          <p:nvPr>
            <p:ph type="body" sz="quarter" idx="23" hasCustomPrompt="1"/>
          </p:nvPr>
        </p:nvSpPr>
        <p:spPr>
          <a:xfrm>
            <a:off x="4390968"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7" name="Text Placeholder 3"/>
          <p:cNvSpPr>
            <a:spLocks noGrp="1"/>
          </p:cNvSpPr>
          <p:nvPr>
            <p:ph type="body" sz="quarter" idx="24" hasCustomPrompt="1"/>
          </p:nvPr>
        </p:nvSpPr>
        <p:spPr>
          <a:xfrm>
            <a:off x="8584870"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18" name="Text Placeholder 3"/>
          <p:cNvSpPr>
            <a:spLocks noGrp="1"/>
          </p:cNvSpPr>
          <p:nvPr>
            <p:ph type="body" sz="quarter" idx="25" hasCustomPrompt="1"/>
          </p:nvPr>
        </p:nvSpPr>
        <p:spPr>
          <a:xfrm>
            <a:off x="8197337"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20" name="Text Placeholder 3"/>
          <p:cNvSpPr>
            <a:spLocks noGrp="1"/>
          </p:cNvSpPr>
          <p:nvPr>
            <p:ph type="body" sz="quarter" idx="26" hasCustomPrompt="1"/>
          </p:nvPr>
        </p:nvSpPr>
        <p:spPr>
          <a:xfrm>
            <a:off x="972133"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Tree>
    <p:extLst>
      <p:ext uri="{BB962C8B-B14F-4D97-AF65-F5344CB8AC3E}">
        <p14:creationId xmlns:p14="http://schemas.microsoft.com/office/powerpoint/2010/main" val="2636741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599401" y="1481142"/>
            <a:ext cx="10991850"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87401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L">
    <p:spTree>
      <p:nvGrpSpPr>
        <p:cNvPr id="1" name=""/>
        <p:cNvGrpSpPr/>
        <p:nvPr/>
      </p:nvGrpSpPr>
      <p:grpSpPr>
        <a:xfrm>
          <a:off x="0" y="0"/>
          <a:ext cx="0" cy="0"/>
          <a:chOff x="0" y="0"/>
          <a:chExt cx="0" cy="0"/>
        </a:xfrm>
      </p:grpSpPr>
      <p:sp>
        <p:nvSpPr>
          <p:cNvPr id="16" name="Text Placeholder 2"/>
          <p:cNvSpPr>
            <a:spLocks noGrp="1"/>
          </p:cNvSpPr>
          <p:nvPr>
            <p:ph type="body" sz="quarter" idx="34"/>
          </p:nvPr>
        </p:nvSpPr>
        <p:spPr>
          <a:xfrm>
            <a:off x="8139268" y="2018419"/>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a:t>Click to edit Master text styles</a:t>
            </a:r>
          </a:p>
          <a:p>
            <a:pPr lvl="1"/>
            <a:r>
              <a:rPr lang="en-US"/>
              <a:t>Second level</a:t>
            </a:r>
          </a:p>
        </p:txBody>
      </p:sp>
      <p:sp>
        <p:nvSpPr>
          <p:cNvPr id="15" name="Text Placeholder 2"/>
          <p:cNvSpPr>
            <a:spLocks noGrp="1"/>
          </p:cNvSpPr>
          <p:nvPr>
            <p:ph type="body" sz="quarter" idx="33"/>
          </p:nvPr>
        </p:nvSpPr>
        <p:spPr>
          <a:xfrm>
            <a:off x="571625" y="2018419"/>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dirty="0"/>
              <a:t>Click to edit Master text styles</a:t>
            </a:r>
          </a:p>
          <a:p>
            <a:pPr lvl="1"/>
            <a:r>
              <a:rPr lang="en-US" dirty="0"/>
              <a:t>Second level</a:t>
            </a:r>
          </a:p>
        </p:txBody>
      </p:sp>
      <p:sp>
        <p:nvSpPr>
          <p:cNvPr id="8" name="Text Placeholder 3"/>
          <p:cNvSpPr>
            <a:spLocks noGrp="1"/>
          </p:cNvSpPr>
          <p:nvPr>
            <p:ph type="body" sz="quarter" idx="21" hasCustomPrompt="1"/>
          </p:nvPr>
        </p:nvSpPr>
        <p:spPr>
          <a:xfrm>
            <a:off x="572494" y="1410591"/>
            <a:ext cx="3501105" cy="520937"/>
          </a:xfrm>
        </p:spPr>
        <p:txBody>
          <a:bodyPr anchor="b"/>
          <a:lstStyle>
            <a:lvl1pPr marL="0" indent="0" algn="ctr">
              <a:lnSpc>
                <a:spcPct val="100000"/>
              </a:lnSpc>
              <a:buFontTx/>
              <a:buNone/>
              <a:defRPr sz="240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12" name="Text Placeholder 3"/>
          <p:cNvSpPr>
            <a:spLocks noGrp="1"/>
          </p:cNvSpPr>
          <p:nvPr>
            <p:ph type="body" sz="quarter" idx="27" hasCustomPrompt="1"/>
          </p:nvPr>
        </p:nvSpPr>
        <p:spPr>
          <a:xfrm>
            <a:off x="4357315" y="1410591"/>
            <a:ext cx="3501105" cy="520937"/>
          </a:xfrm>
        </p:spPr>
        <p:txBody>
          <a:bodyPr anchor="b"/>
          <a:lstStyle>
            <a:lvl1pPr marL="0" indent="0" algn="ctr">
              <a:lnSpc>
                <a:spcPct val="100000"/>
              </a:lnSpc>
              <a:buFontTx/>
              <a:buNone/>
              <a:defRPr sz="2400" baseline="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14" name="Text Placeholder 3"/>
          <p:cNvSpPr>
            <a:spLocks noGrp="1"/>
          </p:cNvSpPr>
          <p:nvPr>
            <p:ph type="body" sz="quarter" idx="29" hasCustomPrompt="1"/>
          </p:nvPr>
        </p:nvSpPr>
        <p:spPr>
          <a:xfrm>
            <a:off x="8142136" y="1410591"/>
            <a:ext cx="3501105" cy="520937"/>
          </a:xfrm>
        </p:spPr>
        <p:txBody>
          <a:bodyPr anchor="b"/>
          <a:lstStyle>
            <a:lvl1pPr marL="0" indent="0" algn="ctr">
              <a:lnSpc>
                <a:spcPct val="100000"/>
              </a:lnSpc>
              <a:buFontTx/>
              <a:buNone/>
              <a:defRPr sz="240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3" name="Text Placeholder 2"/>
          <p:cNvSpPr>
            <a:spLocks noGrp="1"/>
          </p:cNvSpPr>
          <p:nvPr>
            <p:ph type="body" sz="quarter" idx="31"/>
          </p:nvPr>
        </p:nvSpPr>
        <p:spPr>
          <a:xfrm>
            <a:off x="4357316" y="2017482"/>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a:t>Click to edit Master text styles</a:t>
            </a:r>
          </a:p>
          <a:p>
            <a:pPr lvl="1"/>
            <a:r>
              <a:rPr lang="en-US"/>
              <a:t>Second level</a:t>
            </a:r>
          </a:p>
        </p:txBody>
      </p:sp>
      <p:sp>
        <p:nvSpPr>
          <p:cNvPr id="18" name="Title 1"/>
          <p:cNvSpPr>
            <a:spLocks noGrp="1"/>
          </p:cNvSpPr>
          <p:nvPr>
            <p:ph type="title"/>
          </p:nvPr>
        </p:nvSpPr>
        <p:spPr>
          <a:xfrm>
            <a:off x="599400" y="432274"/>
            <a:ext cx="10993200" cy="952974"/>
          </a:xfrm>
        </p:spPr>
        <p:txBody>
          <a:bodyPr/>
          <a:lstStyle>
            <a:lvl1pPr>
              <a:defRPr sz="3800">
                <a:solidFill>
                  <a:schemeClr val="tx1">
                    <a:lumMod val="85000"/>
                    <a:lumOff val="1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1613409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978408" y="1746503"/>
            <a:ext cx="3794760" cy="1053257"/>
          </a:xfrm>
        </p:spPr>
        <p:txBody>
          <a:bodyPr>
            <a:normAutofit/>
          </a:bodyPr>
          <a:lstStyle>
            <a:lvl1pPr marL="0" indent="0">
              <a:buNone/>
              <a:defRPr sz="3500" baseline="0">
                <a:solidFill>
                  <a:schemeClr val="tx1">
                    <a:lumMod val="85000"/>
                    <a:lumOff val="15000"/>
                  </a:schemeClr>
                </a:solidFill>
              </a:defRPr>
            </a:lvl1pPr>
          </a:lstStyle>
          <a:p>
            <a:pPr lvl="0"/>
            <a:r>
              <a:rPr lang="en-US" sz="3500" dirty="0"/>
              <a:t>Chart Layout Headline</a:t>
            </a:r>
            <a:endParaRPr lang="en-US" dirty="0"/>
          </a:p>
        </p:txBody>
      </p:sp>
      <p:sp>
        <p:nvSpPr>
          <p:cNvPr id="8" name="Text Placeholder 7"/>
          <p:cNvSpPr>
            <a:spLocks noGrp="1"/>
          </p:cNvSpPr>
          <p:nvPr>
            <p:ph type="body" sz="quarter" idx="11" hasCustomPrompt="1"/>
          </p:nvPr>
        </p:nvSpPr>
        <p:spPr>
          <a:xfrm>
            <a:off x="978408" y="2999232"/>
            <a:ext cx="3794760" cy="2185510"/>
          </a:xfrm>
        </p:spPr>
        <p:txBody>
          <a:bodyPr/>
          <a:lstStyle>
            <a:lvl1pPr marL="0" marR="0" indent="0" algn="l" rtl="0">
              <a:lnSpc>
                <a:spcPts val="2200"/>
              </a:lnSpc>
              <a:spcBef>
                <a:spcPts val="1200"/>
              </a:spcBef>
              <a:spcAft>
                <a:spcPts val="0"/>
              </a:spcAft>
              <a:buSzPct val="25000"/>
              <a:buNone/>
              <a:defRPr sz="2800"/>
            </a:lvl1pPr>
          </a:lstStyle>
          <a:p>
            <a:pPr marL="0" marR="0" lvl="0" indent="0" algn="l" rtl="0">
              <a:lnSpc>
                <a:spcPts val="2200"/>
              </a:lnSpc>
              <a:spcBef>
                <a:spcPts val="0"/>
              </a:spcBef>
              <a:spcAft>
                <a:spcPts val="0"/>
              </a:spcAft>
              <a:buSzPct val="25000"/>
              <a:buNone/>
            </a:pP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Lorem ipsum dolor sit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amet</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feugiat</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delicata</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liberavisse</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id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cem</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No quo maiorum </a:t>
            </a:r>
            <a:r>
              <a:rPr lang="en-US" sz="18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intelleget</a:t>
            </a:r>
            <a:r>
              <a:rPr lang="en-US" sz="18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a:t>
            </a:r>
          </a:p>
          <a:p>
            <a:pPr marL="0" marR="0" lvl="0" indent="0" algn="l" rtl="0">
              <a:lnSpc>
                <a:spcPts val="2200"/>
              </a:lnSpc>
              <a:spcBef>
                <a:spcPts val="1200"/>
              </a:spcBef>
              <a:buSzPct val="25000"/>
              <a:buNone/>
            </a:pP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 cu case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mea. His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a:t>
            </a:r>
          </a:p>
        </p:txBody>
      </p:sp>
    </p:spTree>
    <p:extLst>
      <p:ext uri="{BB962C8B-B14F-4D97-AF65-F5344CB8AC3E}">
        <p14:creationId xmlns:p14="http://schemas.microsoft.com/office/powerpoint/2010/main" val="36018150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p:spTree>
      <p:nvGrpSpPr>
        <p:cNvPr id="1" name=""/>
        <p:cNvGrpSpPr/>
        <p:nvPr/>
      </p:nvGrpSpPr>
      <p:grpSpPr>
        <a:xfrm>
          <a:off x="0" y="0"/>
          <a:ext cx="0" cy="0"/>
          <a:chOff x="0" y="0"/>
          <a:chExt cx="0" cy="0"/>
        </a:xfrm>
      </p:grpSpPr>
      <p:sp>
        <p:nvSpPr>
          <p:cNvPr id="133" name="Rectangle 132"/>
          <p:cNvSpPr/>
          <p:nvPr userDrawn="1"/>
        </p:nvSpPr>
        <p:spPr>
          <a:xfrm>
            <a:off x="0" y="5042848"/>
            <a:ext cx="12192000" cy="1815152"/>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198" name="Rectangle 197"/>
          <p:cNvSpPr/>
          <p:nvPr userDrawn="1"/>
        </p:nvSpPr>
        <p:spPr>
          <a:xfrm>
            <a:off x="0" y="-20683"/>
            <a:ext cx="12192000" cy="545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3" name="TextBox 2"/>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dirty="0">
                <a:solidFill>
                  <a:srgbClr val="8E9CA8"/>
                </a:solidFill>
              </a:rPr>
              <a:t>©2019 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
        <p:nvSpPr>
          <p:cNvPr id="199" name="Shape 377"/>
          <p:cNvSpPr/>
          <p:nvPr userDrawn="1"/>
        </p:nvSpPr>
        <p:spPr>
          <a:xfrm>
            <a:off x="4634820" y="5438633"/>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solidFill>
            <a:srgbClr val="C2CAD0"/>
          </a:solidFill>
          <a:ln>
            <a:noFill/>
          </a:ln>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grpSp>
        <p:nvGrpSpPr>
          <p:cNvPr id="201" name="Group 200"/>
          <p:cNvGrpSpPr/>
          <p:nvPr userDrawn="1"/>
        </p:nvGrpSpPr>
        <p:grpSpPr>
          <a:xfrm>
            <a:off x="5643342" y="5868538"/>
            <a:ext cx="959908" cy="316031"/>
            <a:chOff x="2811438" y="723330"/>
            <a:chExt cx="4566368" cy="1503387"/>
          </a:xfrm>
        </p:grpSpPr>
        <p:pic>
          <p:nvPicPr>
            <p:cNvPr id="20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76" name="Rectangle 75">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77" name="Rectangle 76">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pic>
        <p:nvPicPr>
          <p:cNvPr id="78" name="Graphic 77">
            <a:extLst>
              <a:ext uri="{FF2B5EF4-FFF2-40B4-BE49-F238E27FC236}">
                <a16:creationId xmlns:a16="http://schemas.microsoft.com/office/drawing/2014/main" id="{E1CC0797-8031-4086-842B-9E5094A7665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2541" y="1264051"/>
            <a:ext cx="9946919" cy="2860273"/>
          </a:xfrm>
          <a:prstGeom prst="rect">
            <a:avLst/>
          </a:prstGeom>
        </p:spPr>
      </p:pic>
    </p:spTree>
    <p:extLst>
      <p:ext uri="{BB962C8B-B14F-4D97-AF65-F5344CB8AC3E}">
        <p14:creationId xmlns:p14="http://schemas.microsoft.com/office/powerpoint/2010/main" val="150381628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ogo Slide">
    <p:spTree>
      <p:nvGrpSpPr>
        <p:cNvPr id="1" name=""/>
        <p:cNvGrpSpPr/>
        <p:nvPr/>
      </p:nvGrpSpPr>
      <p:grpSpPr>
        <a:xfrm>
          <a:off x="0" y="0"/>
          <a:ext cx="0" cy="0"/>
          <a:chOff x="0" y="0"/>
          <a:chExt cx="0" cy="0"/>
        </a:xfrm>
      </p:grpSpPr>
      <p:sp>
        <p:nvSpPr>
          <p:cNvPr id="133" name="Rectangle 132"/>
          <p:cNvSpPr/>
          <p:nvPr userDrawn="1"/>
        </p:nvSpPr>
        <p:spPr>
          <a:xfrm>
            <a:off x="0" y="5042848"/>
            <a:ext cx="12192000" cy="1815152"/>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198" name="Rectangle 197"/>
          <p:cNvSpPr/>
          <p:nvPr userDrawn="1"/>
        </p:nvSpPr>
        <p:spPr>
          <a:xfrm>
            <a:off x="0" y="-20683"/>
            <a:ext cx="12192000" cy="545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3" name="TextBox 2"/>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dirty="0">
                <a:solidFill>
                  <a:srgbClr val="8E9CA8"/>
                </a:solidFill>
              </a:rPr>
              <a:t>©2019 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
        <p:nvSpPr>
          <p:cNvPr id="199" name="Shape 377"/>
          <p:cNvSpPr/>
          <p:nvPr userDrawn="1"/>
        </p:nvSpPr>
        <p:spPr>
          <a:xfrm>
            <a:off x="4634820" y="5438633"/>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solidFill>
            <a:srgbClr val="C2CAD0"/>
          </a:solidFill>
          <a:ln>
            <a:noFill/>
          </a:ln>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grpSp>
        <p:nvGrpSpPr>
          <p:cNvPr id="201" name="Group 200"/>
          <p:cNvGrpSpPr/>
          <p:nvPr userDrawn="1"/>
        </p:nvGrpSpPr>
        <p:grpSpPr>
          <a:xfrm>
            <a:off x="5643342" y="5868538"/>
            <a:ext cx="959908" cy="316031"/>
            <a:chOff x="2811438" y="723330"/>
            <a:chExt cx="4566368" cy="1503387"/>
          </a:xfrm>
        </p:grpSpPr>
        <p:pic>
          <p:nvPicPr>
            <p:cNvPr id="20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76" name="Rectangle 75">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77" name="Rectangle 76">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16" name="Shape 179"/>
          <p:cNvSpPr>
            <a:spLocks noChangeAspect="1"/>
          </p:cNvSpPr>
          <p:nvPr userDrawn="1"/>
        </p:nvSpPr>
        <p:spPr>
          <a:xfrm>
            <a:off x="851137" y="484495"/>
            <a:ext cx="4043428" cy="4448959"/>
          </a:xfrm>
          <a:custGeom>
            <a:avLst/>
            <a:gdLst/>
            <a:ahLst/>
            <a:cxnLst/>
            <a:rect l="0" t="0" r="0" b="0"/>
            <a:pathLst>
              <a:path w="120000" h="120000" extrusionOk="0">
                <a:moveTo>
                  <a:pt x="60000" y="0"/>
                </a:moveTo>
                <a:lnTo>
                  <a:pt x="61669" y="98"/>
                </a:lnTo>
                <a:lnTo>
                  <a:pt x="63250" y="344"/>
                </a:lnTo>
                <a:lnTo>
                  <a:pt x="64831" y="788"/>
                </a:lnTo>
                <a:lnTo>
                  <a:pt x="65534" y="1034"/>
                </a:lnTo>
                <a:lnTo>
                  <a:pt x="66105" y="1330"/>
                </a:lnTo>
                <a:lnTo>
                  <a:pt x="113894" y="25911"/>
                </a:lnTo>
                <a:lnTo>
                  <a:pt x="114465" y="26256"/>
                </a:lnTo>
                <a:lnTo>
                  <a:pt x="115168" y="26699"/>
                </a:lnTo>
                <a:lnTo>
                  <a:pt x="116266" y="27684"/>
                </a:lnTo>
                <a:lnTo>
                  <a:pt x="117320" y="28817"/>
                </a:lnTo>
                <a:lnTo>
                  <a:pt x="118243" y="30049"/>
                </a:lnTo>
                <a:lnTo>
                  <a:pt x="119033" y="31379"/>
                </a:lnTo>
                <a:lnTo>
                  <a:pt x="119516" y="32660"/>
                </a:lnTo>
                <a:lnTo>
                  <a:pt x="119912" y="34088"/>
                </a:lnTo>
                <a:lnTo>
                  <a:pt x="120000" y="34778"/>
                </a:lnTo>
                <a:lnTo>
                  <a:pt x="120000" y="35418"/>
                </a:lnTo>
                <a:lnTo>
                  <a:pt x="120000" y="84581"/>
                </a:lnTo>
                <a:lnTo>
                  <a:pt x="120000" y="85221"/>
                </a:lnTo>
                <a:lnTo>
                  <a:pt x="119912" y="85911"/>
                </a:lnTo>
                <a:lnTo>
                  <a:pt x="119516" y="87339"/>
                </a:lnTo>
                <a:lnTo>
                  <a:pt x="119033" y="88620"/>
                </a:lnTo>
                <a:lnTo>
                  <a:pt x="118243" y="89950"/>
                </a:lnTo>
                <a:lnTo>
                  <a:pt x="117320" y="91182"/>
                </a:lnTo>
                <a:lnTo>
                  <a:pt x="116266" y="92315"/>
                </a:lnTo>
                <a:lnTo>
                  <a:pt x="115168" y="93300"/>
                </a:lnTo>
                <a:lnTo>
                  <a:pt x="114465" y="93743"/>
                </a:lnTo>
                <a:lnTo>
                  <a:pt x="113894" y="94088"/>
                </a:lnTo>
                <a:lnTo>
                  <a:pt x="66105" y="118669"/>
                </a:lnTo>
                <a:lnTo>
                  <a:pt x="65534" y="118965"/>
                </a:lnTo>
                <a:lnTo>
                  <a:pt x="64831" y="119211"/>
                </a:lnTo>
                <a:lnTo>
                  <a:pt x="63250" y="119655"/>
                </a:lnTo>
                <a:lnTo>
                  <a:pt x="61669" y="119901"/>
                </a:lnTo>
                <a:lnTo>
                  <a:pt x="60000" y="120000"/>
                </a:lnTo>
                <a:lnTo>
                  <a:pt x="58330" y="119901"/>
                </a:lnTo>
                <a:lnTo>
                  <a:pt x="56749" y="119655"/>
                </a:lnTo>
                <a:lnTo>
                  <a:pt x="55168" y="119211"/>
                </a:lnTo>
                <a:lnTo>
                  <a:pt x="54465" y="118965"/>
                </a:lnTo>
                <a:lnTo>
                  <a:pt x="53894" y="118669"/>
                </a:lnTo>
                <a:lnTo>
                  <a:pt x="6105" y="94088"/>
                </a:lnTo>
                <a:lnTo>
                  <a:pt x="5534" y="93743"/>
                </a:lnTo>
                <a:lnTo>
                  <a:pt x="4831" y="93300"/>
                </a:lnTo>
                <a:lnTo>
                  <a:pt x="3733" y="92315"/>
                </a:lnTo>
                <a:lnTo>
                  <a:pt x="2679" y="91182"/>
                </a:lnTo>
                <a:lnTo>
                  <a:pt x="1756" y="89950"/>
                </a:lnTo>
                <a:lnTo>
                  <a:pt x="966" y="88620"/>
                </a:lnTo>
                <a:lnTo>
                  <a:pt x="395" y="87339"/>
                </a:lnTo>
                <a:lnTo>
                  <a:pt x="87" y="85911"/>
                </a:lnTo>
                <a:lnTo>
                  <a:pt x="0" y="85221"/>
                </a:lnTo>
                <a:lnTo>
                  <a:pt x="0" y="84581"/>
                </a:lnTo>
                <a:lnTo>
                  <a:pt x="0" y="35418"/>
                </a:lnTo>
                <a:lnTo>
                  <a:pt x="0" y="34778"/>
                </a:lnTo>
                <a:lnTo>
                  <a:pt x="87" y="34088"/>
                </a:lnTo>
                <a:lnTo>
                  <a:pt x="395" y="32660"/>
                </a:lnTo>
                <a:lnTo>
                  <a:pt x="966" y="31379"/>
                </a:lnTo>
                <a:lnTo>
                  <a:pt x="1756" y="30049"/>
                </a:lnTo>
                <a:lnTo>
                  <a:pt x="2679" y="28817"/>
                </a:lnTo>
                <a:lnTo>
                  <a:pt x="3733" y="27684"/>
                </a:lnTo>
                <a:lnTo>
                  <a:pt x="4831" y="26699"/>
                </a:lnTo>
                <a:lnTo>
                  <a:pt x="5534" y="26256"/>
                </a:lnTo>
                <a:lnTo>
                  <a:pt x="6105" y="25911"/>
                </a:lnTo>
                <a:lnTo>
                  <a:pt x="53894" y="1330"/>
                </a:lnTo>
                <a:lnTo>
                  <a:pt x="54465" y="1034"/>
                </a:lnTo>
                <a:lnTo>
                  <a:pt x="55168" y="788"/>
                </a:lnTo>
                <a:lnTo>
                  <a:pt x="56749" y="344"/>
                </a:lnTo>
                <a:lnTo>
                  <a:pt x="58330" y="98"/>
                </a:ln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8100000" scaled="1"/>
            <a:tileRect/>
          </a:gradFill>
          <a:ln>
            <a:noFill/>
          </a:ln>
          <a:effectLst/>
        </p:spPr>
      </p:sp>
      <p:sp>
        <p:nvSpPr>
          <p:cNvPr id="5" name="Text Placeholder 4"/>
          <p:cNvSpPr>
            <a:spLocks noGrp="1"/>
          </p:cNvSpPr>
          <p:nvPr>
            <p:ph type="body" sz="quarter" idx="10" hasCustomPrompt="1"/>
          </p:nvPr>
        </p:nvSpPr>
        <p:spPr>
          <a:xfrm>
            <a:off x="923827" y="1819373"/>
            <a:ext cx="3902697" cy="1819373"/>
          </a:xfrm>
        </p:spPr>
        <p:txBody>
          <a:bodyPr>
            <a:noAutofit/>
          </a:bodyPr>
          <a:lstStyle>
            <a:lvl1pPr marL="0" indent="0" algn="ctr">
              <a:buNone/>
              <a:defRPr sz="2200" baseline="0">
                <a:solidFill>
                  <a:schemeClr val="bg1"/>
                </a:solidFill>
              </a:defRPr>
            </a:lvl1pPr>
            <a:lvl2pPr marL="163703" indent="0">
              <a:buNone/>
              <a:defRPr sz="2400"/>
            </a:lvl2pPr>
            <a:lvl3pPr marL="347663" indent="0">
              <a:buNone/>
              <a:defRPr sz="2000"/>
            </a:lvl3pPr>
            <a:lvl4pPr marL="512064" indent="0">
              <a:buNone/>
              <a:defRPr sz="1800"/>
            </a:lvl4pPr>
            <a:lvl5pPr marL="0" indent="0">
              <a:buFont typeface="Arial" panose="020B0604020202020204" pitchFamily="34" charset="0"/>
              <a:buNone/>
              <a:defRPr sz="2800"/>
            </a:lvl5pPr>
          </a:lstStyle>
          <a:p>
            <a:pPr lvl="0"/>
            <a:r>
              <a:rPr lang="en-US" sz="2200" dirty="0"/>
              <a:t>Contact me:</a:t>
            </a:r>
          </a:p>
          <a:p>
            <a:pPr lvl="0"/>
            <a:r>
              <a:rPr lang="en-US" sz="2200" dirty="0"/>
              <a:t>Name</a:t>
            </a:r>
          </a:p>
          <a:p>
            <a:pPr lvl="0"/>
            <a:r>
              <a:rPr lang="en-US" sz="2200" dirty="0"/>
              <a:t>Email address</a:t>
            </a:r>
          </a:p>
          <a:p>
            <a:pPr lvl="0"/>
            <a:r>
              <a:rPr lang="en-US" sz="2200" dirty="0"/>
              <a:t>Phone number</a:t>
            </a: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943600" y="1092051"/>
            <a:ext cx="5390646" cy="3233846"/>
          </a:xfrm>
          <a:prstGeom prst="rect">
            <a:avLst/>
          </a:prstGeom>
        </p:spPr>
      </p:pic>
    </p:spTree>
    <p:extLst>
      <p:ext uri="{BB962C8B-B14F-4D97-AF65-F5344CB8AC3E}">
        <p14:creationId xmlns:p14="http://schemas.microsoft.com/office/powerpoint/2010/main" val="24646089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ogo Slide 3">
    <p:spTree>
      <p:nvGrpSpPr>
        <p:cNvPr id="1" name=""/>
        <p:cNvGrpSpPr/>
        <p:nvPr/>
      </p:nvGrpSpPr>
      <p:grpSpPr>
        <a:xfrm>
          <a:off x="0" y="0"/>
          <a:ext cx="0" cy="0"/>
          <a:chOff x="0" y="0"/>
          <a:chExt cx="0" cy="0"/>
        </a:xfrm>
      </p:grpSpPr>
      <p:sp>
        <p:nvSpPr>
          <p:cNvPr id="40" name="Rectangle 39"/>
          <p:cNvSpPr/>
          <p:nvPr userDrawn="1"/>
        </p:nvSpPr>
        <p:spPr>
          <a:xfrm>
            <a:off x="0" y="0"/>
            <a:ext cx="12192000" cy="6858000"/>
          </a:xfrm>
          <a:prstGeom prst="rect">
            <a:avLst/>
          </a:pr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algn="ctr"/>
            <a:endParaRPr lang="en-US" sz="2700" dirty="0" err="1">
              <a:solidFill>
                <a:srgbClr val="000000"/>
              </a:solidFill>
              <a:latin typeface="Nunito Light"/>
              <a:ea typeface="Nunito Light"/>
              <a:cs typeface="Nunito Light"/>
            </a:endParaRPr>
          </a:p>
        </p:txBody>
      </p:sp>
      <p:grpSp>
        <p:nvGrpSpPr>
          <p:cNvPr id="2" name="Group 1"/>
          <p:cNvGrpSpPr>
            <a:grpSpLocks noChangeAspect="1"/>
          </p:cNvGrpSpPr>
          <p:nvPr userDrawn="1"/>
        </p:nvGrpSpPr>
        <p:grpSpPr>
          <a:xfrm>
            <a:off x="3902213" y="1694455"/>
            <a:ext cx="4387573" cy="2527687"/>
            <a:chOff x="3902213" y="1694455"/>
            <a:chExt cx="4387573" cy="2527687"/>
          </a:xfrm>
        </p:grpSpPr>
        <p:sp>
          <p:nvSpPr>
            <p:cNvPr id="55" name="Freeform 6"/>
            <p:cNvSpPr>
              <a:spLocks/>
            </p:cNvSpPr>
            <p:nvPr userDrawn="1"/>
          </p:nvSpPr>
          <p:spPr bwMode="auto">
            <a:xfrm>
              <a:off x="3926134" y="1714389"/>
              <a:ext cx="4341723" cy="2485825"/>
            </a:xfrm>
            <a:custGeom>
              <a:avLst/>
              <a:gdLst>
                <a:gd name="T0" fmla="*/ 662 w 2178"/>
                <a:gd name="T1" fmla="*/ 0 h 1247"/>
                <a:gd name="T2" fmla="*/ 670 w 2178"/>
                <a:gd name="T3" fmla="*/ 2 h 1247"/>
                <a:gd name="T4" fmla="*/ 1333 w 2178"/>
                <a:gd name="T5" fmla="*/ 183 h 1247"/>
                <a:gd name="T6" fmla="*/ 1532 w 2178"/>
                <a:gd name="T7" fmla="*/ 208 h 1247"/>
                <a:gd name="T8" fmla="*/ 1713 w 2178"/>
                <a:gd name="T9" fmla="*/ 247 h 1247"/>
                <a:gd name="T10" fmla="*/ 1869 w 2178"/>
                <a:gd name="T11" fmla="*/ 298 h 1247"/>
                <a:gd name="T12" fmla="*/ 1999 w 2178"/>
                <a:gd name="T13" fmla="*/ 360 h 1247"/>
                <a:gd name="T14" fmla="*/ 2095 w 2178"/>
                <a:gd name="T15" fmla="*/ 429 h 1247"/>
                <a:gd name="T16" fmla="*/ 2157 w 2178"/>
                <a:gd name="T17" fmla="*/ 508 h 1247"/>
                <a:gd name="T18" fmla="*/ 2178 w 2178"/>
                <a:gd name="T19" fmla="*/ 591 h 1247"/>
                <a:gd name="T20" fmla="*/ 2160 w 2178"/>
                <a:gd name="T21" fmla="*/ 667 h 1247"/>
                <a:gd name="T22" fmla="*/ 2106 w 2178"/>
                <a:gd name="T23" fmla="*/ 740 h 1247"/>
                <a:gd name="T24" fmla="*/ 2021 w 2178"/>
                <a:gd name="T25" fmla="*/ 806 h 1247"/>
                <a:gd name="T26" fmla="*/ 1908 w 2178"/>
                <a:gd name="T27" fmla="*/ 865 h 1247"/>
                <a:gd name="T28" fmla="*/ 1771 w 2178"/>
                <a:gd name="T29" fmla="*/ 916 h 1247"/>
                <a:gd name="T30" fmla="*/ 1762 w 2178"/>
                <a:gd name="T31" fmla="*/ 972 h 1247"/>
                <a:gd name="T32" fmla="*/ 1588 w 2178"/>
                <a:gd name="T33" fmla="*/ 1009 h 1247"/>
                <a:gd name="T34" fmla="*/ 1855 w 2178"/>
                <a:gd name="T35" fmla="*/ 1202 h 1247"/>
                <a:gd name="T36" fmla="*/ 1866 w 2178"/>
                <a:gd name="T37" fmla="*/ 1211 h 1247"/>
                <a:gd name="T38" fmla="*/ 1869 w 2178"/>
                <a:gd name="T39" fmla="*/ 1225 h 1247"/>
                <a:gd name="T40" fmla="*/ 1857 w 2178"/>
                <a:gd name="T41" fmla="*/ 1244 h 1247"/>
                <a:gd name="T42" fmla="*/ 1837 w 2178"/>
                <a:gd name="T43" fmla="*/ 1247 h 1247"/>
                <a:gd name="T44" fmla="*/ 910 w 2178"/>
                <a:gd name="T45" fmla="*/ 1002 h 1247"/>
                <a:gd name="T46" fmla="*/ 710 w 2178"/>
                <a:gd name="T47" fmla="*/ 982 h 1247"/>
                <a:gd name="T48" fmla="*/ 529 w 2178"/>
                <a:gd name="T49" fmla="*/ 948 h 1247"/>
                <a:gd name="T50" fmla="*/ 367 w 2178"/>
                <a:gd name="T51" fmla="*/ 902 h 1247"/>
                <a:gd name="T52" fmla="*/ 230 w 2178"/>
                <a:gd name="T53" fmla="*/ 847 h 1247"/>
                <a:gd name="T54" fmla="*/ 121 w 2178"/>
                <a:gd name="T55" fmla="*/ 782 h 1247"/>
                <a:gd name="T56" fmla="*/ 46 w 2178"/>
                <a:gd name="T57" fmla="*/ 710 h 1247"/>
                <a:gd name="T58" fmla="*/ 7 w 2178"/>
                <a:gd name="T59" fmla="*/ 631 h 1247"/>
                <a:gd name="T60" fmla="*/ 5 w 2178"/>
                <a:gd name="T61" fmla="*/ 551 h 1247"/>
                <a:gd name="T62" fmla="*/ 40 w 2178"/>
                <a:gd name="T63" fmla="*/ 478 h 1247"/>
                <a:gd name="T64" fmla="*/ 108 w 2178"/>
                <a:gd name="T65" fmla="*/ 410 h 1247"/>
                <a:gd name="T66" fmla="*/ 204 w 2178"/>
                <a:gd name="T67" fmla="*/ 347 h 1247"/>
                <a:gd name="T68" fmla="*/ 327 w 2178"/>
                <a:gd name="T69" fmla="*/ 292 h 1247"/>
                <a:gd name="T70" fmla="*/ 318 w 2178"/>
                <a:gd name="T71" fmla="*/ 240 h 1247"/>
                <a:gd name="T72" fmla="*/ 484 w 2178"/>
                <a:gd name="T73" fmla="*/ 195 h 1247"/>
                <a:gd name="T74" fmla="*/ 192 w 2178"/>
                <a:gd name="T75" fmla="*/ 41 h 1247"/>
                <a:gd name="T76" fmla="*/ 183 w 2178"/>
                <a:gd name="T77" fmla="*/ 33 h 1247"/>
                <a:gd name="T78" fmla="*/ 180 w 2178"/>
                <a:gd name="T79" fmla="*/ 21 h 1247"/>
                <a:gd name="T80" fmla="*/ 183 w 2178"/>
                <a:gd name="T81" fmla="*/ 9 h 1247"/>
                <a:gd name="T82" fmla="*/ 194 w 2178"/>
                <a:gd name="T83" fmla="*/ 2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8" h="1247">
                  <a:moveTo>
                    <a:pt x="201" y="0"/>
                  </a:moveTo>
                  <a:lnTo>
                    <a:pt x="662" y="0"/>
                  </a:lnTo>
                  <a:lnTo>
                    <a:pt x="667" y="2"/>
                  </a:lnTo>
                  <a:lnTo>
                    <a:pt x="670" y="2"/>
                  </a:lnTo>
                  <a:lnTo>
                    <a:pt x="1227" y="177"/>
                  </a:lnTo>
                  <a:lnTo>
                    <a:pt x="1333" y="183"/>
                  </a:lnTo>
                  <a:lnTo>
                    <a:pt x="1435" y="195"/>
                  </a:lnTo>
                  <a:lnTo>
                    <a:pt x="1532" y="208"/>
                  </a:lnTo>
                  <a:lnTo>
                    <a:pt x="1626" y="226"/>
                  </a:lnTo>
                  <a:lnTo>
                    <a:pt x="1713" y="247"/>
                  </a:lnTo>
                  <a:lnTo>
                    <a:pt x="1793" y="271"/>
                  </a:lnTo>
                  <a:lnTo>
                    <a:pt x="1869" y="298"/>
                  </a:lnTo>
                  <a:lnTo>
                    <a:pt x="1937" y="329"/>
                  </a:lnTo>
                  <a:lnTo>
                    <a:pt x="1999" y="360"/>
                  </a:lnTo>
                  <a:lnTo>
                    <a:pt x="2051" y="393"/>
                  </a:lnTo>
                  <a:lnTo>
                    <a:pt x="2095" y="429"/>
                  </a:lnTo>
                  <a:lnTo>
                    <a:pt x="2132" y="469"/>
                  </a:lnTo>
                  <a:lnTo>
                    <a:pt x="2157" y="508"/>
                  </a:lnTo>
                  <a:lnTo>
                    <a:pt x="2172" y="548"/>
                  </a:lnTo>
                  <a:lnTo>
                    <a:pt x="2178" y="591"/>
                  </a:lnTo>
                  <a:lnTo>
                    <a:pt x="2174" y="630"/>
                  </a:lnTo>
                  <a:lnTo>
                    <a:pt x="2160" y="667"/>
                  </a:lnTo>
                  <a:lnTo>
                    <a:pt x="2138" y="704"/>
                  </a:lnTo>
                  <a:lnTo>
                    <a:pt x="2106" y="740"/>
                  </a:lnTo>
                  <a:lnTo>
                    <a:pt x="2068" y="774"/>
                  </a:lnTo>
                  <a:lnTo>
                    <a:pt x="2021" y="806"/>
                  </a:lnTo>
                  <a:lnTo>
                    <a:pt x="1968" y="836"/>
                  </a:lnTo>
                  <a:lnTo>
                    <a:pt x="1908" y="865"/>
                  </a:lnTo>
                  <a:lnTo>
                    <a:pt x="1843" y="892"/>
                  </a:lnTo>
                  <a:lnTo>
                    <a:pt x="1771" y="916"/>
                  </a:lnTo>
                  <a:lnTo>
                    <a:pt x="1694" y="937"/>
                  </a:lnTo>
                  <a:lnTo>
                    <a:pt x="1762" y="972"/>
                  </a:lnTo>
                  <a:lnTo>
                    <a:pt x="1677" y="991"/>
                  </a:lnTo>
                  <a:lnTo>
                    <a:pt x="1588" y="1009"/>
                  </a:lnTo>
                  <a:lnTo>
                    <a:pt x="1494" y="1023"/>
                  </a:lnTo>
                  <a:lnTo>
                    <a:pt x="1855" y="1202"/>
                  </a:lnTo>
                  <a:lnTo>
                    <a:pt x="1861" y="1207"/>
                  </a:lnTo>
                  <a:lnTo>
                    <a:pt x="1866" y="1211"/>
                  </a:lnTo>
                  <a:lnTo>
                    <a:pt x="1869" y="1217"/>
                  </a:lnTo>
                  <a:lnTo>
                    <a:pt x="1869" y="1225"/>
                  </a:lnTo>
                  <a:lnTo>
                    <a:pt x="1866" y="1237"/>
                  </a:lnTo>
                  <a:lnTo>
                    <a:pt x="1857" y="1244"/>
                  </a:lnTo>
                  <a:lnTo>
                    <a:pt x="1845" y="1247"/>
                  </a:lnTo>
                  <a:lnTo>
                    <a:pt x="1837" y="1247"/>
                  </a:lnTo>
                  <a:lnTo>
                    <a:pt x="1014" y="1006"/>
                  </a:lnTo>
                  <a:lnTo>
                    <a:pt x="910" y="1002"/>
                  </a:lnTo>
                  <a:lnTo>
                    <a:pt x="809" y="994"/>
                  </a:lnTo>
                  <a:lnTo>
                    <a:pt x="710" y="982"/>
                  </a:lnTo>
                  <a:lnTo>
                    <a:pt x="617" y="967"/>
                  </a:lnTo>
                  <a:lnTo>
                    <a:pt x="529" y="948"/>
                  </a:lnTo>
                  <a:lnTo>
                    <a:pt x="445" y="926"/>
                  </a:lnTo>
                  <a:lnTo>
                    <a:pt x="367" y="902"/>
                  </a:lnTo>
                  <a:lnTo>
                    <a:pt x="295" y="875"/>
                  </a:lnTo>
                  <a:lnTo>
                    <a:pt x="230" y="847"/>
                  </a:lnTo>
                  <a:lnTo>
                    <a:pt x="173" y="815"/>
                  </a:lnTo>
                  <a:lnTo>
                    <a:pt x="121" y="782"/>
                  </a:lnTo>
                  <a:lnTo>
                    <a:pt x="79" y="747"/>
                  </a:lnTo>
                  <a:lnTo>
                    <a:pt x="46" y="710"/>
                  </a:lnTo>
                  <a:lnTo>
                    <a:pt x="22" y="670"/>
                  </a:lnTo>
                  <a:lnTo>
                    <a:pt x="7" y="631"/>
                  </a:lnTo>
                  <a:lnTo>
                    <a:pt x="0" y="591"/>
                  </a:lnTo>
                  <a:lnTo>
                    <a:pt x="5" y="551"/>
                  </a:lnTo>
                  <a:lnTo>
                    <a:pt x="19" y="514"/>
                  </a:lnTo>
                  <a:lnTo>
                    <a:pt x="40" y="478"/>
                  </a:lnTo>
                  <a:lnTo>
                    <a:pt x="70" y="443"/>
                  </a:lnTo>
                  <a:lnTo>
                    <a:pt x="108" y="410"/>
                  </a:lnTo>
                  <a:lnTo>
                    <a:pt x="153" y="377"/>
                  </a:lnTo>
                  <a:lnTo>
                    <a:pt x="204" y="347"/>
                  </a:lnTo>
                  <a:lnTo>
                    <a:pt x="263" y="318"/>
                  </a:lnTo>
                  <a:lnTo>
                    <a:pt x="327" y="292"/>
                  </a:lnTo>
                  <a:lnTo>
                    <a:pt x="398" y="268"/>
                  </a:lnTo>
                  <a:lnTo>
                    <a:pt x="318" y="240"/>
                  </a:lnTo>
                  <a:lnTo>
                    <a:pt x="398" y="216"/>
                  </a:lnTo>
                  <a:lnTo>
                    <a:pt x="484" y="195"/>
                  </a:lnTo>
                  <a:lnTo>
                    <a:pt x="573" y="177"/>
                  </a:lnTo>
                  <a:lnTo>
                    <a:pt x="192" y="41"/>
                  </a:lnTo>
                  <a:lnTo>
                    <a:pt x="188" y="38"/>
                  </a:lnTo>
                  <a:lnTo>
                    <a:pt x="183" y="33"/>
                  </a:lnTo>
                  <a:lnTo>
                    <a:pt x="180" y="29"/>
                  </a:lnTo>
                  <a:lnTo>
                    <a:pt x="180" y="21"/>
                  </a:lnTo>
                  <a:lnTo>
                    <a:pt x="180" y="15"/>
                  </a:lnTo>
                  <a:lnTo>
                    <a:pt x="183" y="9"/>
                  </a:lnTo>
                  <a:lnTo>
                    <a:pt x="188" y="5"/>
                  </a:lnTo>
                  <a:lnTo>
                    <a:pt x="194" y="2"/>
                  </a:lnTo>
                  <a:lnTo>
                    <a:pt x="2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7"/>
            <p:cNvSpPr>
              <a:spLocks/>
            </p:cNvSpPr>
            <p:nvPr userDrawn="1"/>
          </p:nvSpPr>
          <p:spPr bwMode="auto">
            <a:xfrm>
              <a:off x="4099563" y="2222717"/>
              <a:ext cx="4006824" cy="1331621"/>
            </a:xfrm>
            <a:custGeom>
              <a:avLst/>
              <a:gdLst>
                <a:gd name="T0" fmla="*/ 1107 w 2010"/>
                <a:gd name="T1" fmla="*/ 1 h 668"/>
                <a:gd name="T2" fmla="*/ 1303 w 2010"/>
                <a:gd name="T3" fmla="*/ 15 h 668"/>
                <a:gd name="T4" fmla="*/ 1484 w 2010"/>
                <a:gd name="T5" fmla="*/ 40 h 668"/>
                <a:gd name="T6" fmla="*/ 1644 w 2010"/>
                <a:gd name="T7" fmla="*/ 77 h 668"/>
                <a:gd name="T8" fmla="*/ 1780 w 2010"/>
                <a:gd name="T9" fmla="*/ 122 h 668"/>
                <a:gd name="T10" fmla="*/ 1887 w 2010"/>
                <a:gd name="T11" fmla="*/ 174 h 668"/>
                <a:gd name="T12" fmla="*/ 1964 w 2010"/>
                <a:gd name="T13" fmla="*/ 235 h 668"/>
                <a:gd name="T14" fmla="*/ 2004 w 2010"/>
                <a:gd name="T15" fmla="*/ 299 h 668"/>
                <a:gd name="T16" fmla="*/ 2005 w 2010"/>
                <a:gd name="T17" fmla="*/ 364 h 668"/>
                <a:gd name="T18" fmla="*/ 1975 w 2010"/>
                <a:gd name="T19" fmla="*/ 421 h 668"/>
                <a:gd name="T20" fmla="*/ 1903 w 2010"/>
                <a:gd name="T21" fmla="*/ 477 h 668"/>
                <a:gd name="T22" fmla="*/ 1798 w 2010"/>
                <a:gd name="T23" fmla="*/ 522 h 668"/>
                <a:gd name="T24" fmla="*/ 1665 w 2010"/>
                <a:gd name="T25" fmla="*/ 557 h 668"/>
                <a:gd name="T26" fmla="*/ 1507 w 2010"/>
                <a:gd name="T27" fmla="*/ 580 h 668"/>
                <a:gd name="T28" fmla="*/ 1498 w 2010"/>
                <a:gd name="T29" fmla="*/ 625 h 668"/>
                <a:gd name="T30" fmla="*/ 1314 w 2010"/>
                <a:gd name="T31" fmla="*/ 652 h 668"/>
                <a:gd name="T32" fmla="*/ 1111 w 2010"/>
                <a:gd name="T33" fmla="*/ 667 h 668"/>
                <a:gd name="T34" fmla="*/ 901 w 2010"/>
                <a:gd name="T35" fmla="*/ 667 h 668"/>
                <a:gd name="T36" fmla="*/ 705 w 2010"/>
                <a:gd name="T37" fmla="*/ 653 h 668"/>
                <a:gd name="T38" fmla="*/ 525 w 2010"/>
                <a:gd name="T39" fmla="*/ 628 h 668"/>
                <a:gd name="T40" fmla="*/ 365 w 2010"/>
                <a:gd name="T41" fmla="*/ 592 h 668"/>
                <a:gd name="T42" fmla="*/ 229 w 2010"/>
                <a:gd name="T43" fmla="*/ 546 h 668"/>
                <a:gd name="T44" fmla="*/ 120 w 2010"/>
                <a:gd name="T45" fmla="*/ 494 h 668"/>
                <a:gd name="T46" fmla="*/ 45 w 2010"/>
                <a:gd name="T47" fmla="*/ 434 h 668"/>
                <a:gd name="T48" fmla="*/ 4 w 2010"/>
                <a:gd name="T49" fmla="*/ 369 h 668"/>
                <a:gd name="T50" fmla="*/ 3 w 2010"/>
                <a:gd name="T51" fmla="*/ 304 h 668"/>
                <a:gd name="T52" fmla="*/ 33 w 2010"/>
                <a:gd name="T53" fmla="*/ 248 h 668"/>
                <a:gd name="T54" fmla="*/ 93 w 2010"/>
                <a:gd name="T55" fmla="*/ 196 h 668"/>
                <a:gd name="T56" fmla="*/ 185 w 2010"/>
                <a:gd name="T57" fmla="*/ 152 h 668"/>
                <a:gd name="T58" fmla="*/ 302 w 2010"/>
                <a:gd name="T59" fmla="*/ 117 h 668"/>
                <a:gd name="T60" fmla="*/ 439 w 2010"/>
                <a:gd name="T61" fmla="*/ 93 h 668"/>
                <a:gd name="T62" fmla="*/ 441 w 2010"/>
                <a:gd name="T63" fmla="*/ 57 h 668"/>
                <a:gd name="T64" fmla="*/ 649 w 2010"/>
                <a:gd name="T65" fmla="*/ 21 h 668"/>
                <a:gd name="T66" fmla="*/ 882 w 2010"/>
                <a:gd name="T67" fmla="*/ 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10" h="668">
                  <a:moveTo>
                    <a:pt x="1004" y="0"/>
                  </a:moveTo>
                  <a:lnTo>
                    <a:pt x="1107" y="1"/>
                  </a:lnTo>
                  <a:lnTo>
                    <a:pt x="1206" y="7"/>
                  </a:lnTo>
                  <a:lnTo>
                    <a:pt x="1303" y="15"/>
                  </a:lnTo>
                  <a:lnTo>
                    <a:pt x="1395" y="27"/>
                  </a:lnTo>
                  <a:lnTo>
                    <a:pt x="1484" y="40"/>
                  </a:lnTo>
                  <a:lnTo>
                    <a:pt x="1566" y="57"/>
                  </a:lnTo>
                  <a:lnTo>
                    <a:pt x="1644" y="77"/>
                  </a:lnTo>
                  <a:lnTo>
                    <a:pt x="1715" y="98"/>
                  </a:lnTo>
                  <a:lnTo>
                    <a:pt x="1780" y="122"/>
                  </a:lnTo>
                  <a:lnTo>
                    <a:pt x="1838" y="147"/>
                  </a:lnTo>
                  <a:lnTo>
                    <a:pt x="1887" y="174"/>
                  </a:lnTo>
                  <a:lnTo>
                    <a:pt x="1931" y="205"/>
                  </a:lnTo>
                  <a:lnTo>
                    <a:pt x="1964" y="235"/>
                  </a:lnTo>
                  <a:lnTo>
                    <a:pt x="1989" y="266"/>
                  </a:lnTo>
                  <a:lnTo>
                    <a:pt x="2004" y="299"/>
                  </a:lnTo>
                  <a:lnTo>
                    <a:pt x="2010" y="334"/>
                  </a:lnTo>
                  <a:lnTo>
                    <a:pt x="2005" y="364"/>
                  </a:lnTo>
                  <a:lnTo>
                    <a:pt x="1993" y="393"/>
                  </a:lnTo>
                  <a:lnTo>
                    <a:pt x="1975" y="421"/>
                  </a:lnTo>
                  <a:lnTo>
                    <a:pt x="1943" y="450"/>
                  </a:lnTo>
                  <a:lnTo>
                    <a:pt x="1903" y="477"/>
                  </a:lnTo>
                  <a:lnTo>
                    <a:pt x="1854" y="501"/>
                  </a:lnTo>
                  <a:lnTo>
                    <a:pt x="1798" y="522"/>
                  </a:lnTo>
                  <a:lnTo>
                    <a:pt x="1735" y="540"/>
                  </a:lnTo>
                  <a:lnTo>
                    <a:pt x="1665" y="557"/>
                  </a:lnTo>
                  <a:lnTo>
                    <a:pt x="1588" y="571"/>
                  </a:lnTo>
                  <a:lnTo>
                    <a:pt x="1507" y="580"/>
                  </a:lnTo>
                  <a:lnTo>
                    <a:pt x="1419" y="587"/>
                  </a:lnTo>
                  <a:lnTo>
                    <a:pt x="1498" y="625"/>
                  </a:lnTo>
                  <a:lnTo>
                    <a:pt x="1409" y="640"/>
                  </a:lnTo>
                  <a:lnTo>
                    <a:pt x="1314" y="652"/>
                  </a:lnTo>
                  <a:lnTo>
                    <a:pt x="1214" y="661"/>
                  </a:lnTo>
                  <a:lnTo>
                    <a:pt x="1111" y="667"/>
                  </a:lnTo>
                  <a:lnTo>
                    <a:pt x="1004" y="668"/>
                  </a:lnTo>
                  <a:lnTo>
                    <a:pt x="901" y="667"/>
                  </a:lnTo>
                  <a:lnTo>
                    <a:pt x="802" y="661"/>
                  </a:lnTo>
                  <a:lnTo>
                    <a:pt x="705" y="653"/>
                  </a:lnTo>
                  <a:lnTo>
                    <a:pt x="613" y="641"/>
                  </a:lnTo>
                  <a:lnTo>
                    <a:pt x="525" y="628"/>
                  </a:lnTo>
                  <a:lnTo>
                    <a:pt x="442" y="611"/>
                  </a:lnTo>
                  <a:lnTo>
                    <a:pt x="365" y="592"/>
                  </a:lnTo>
                  <a:lnTo>
                    <a:pt x="294" y="571"/>
                  </a:lnTo>
                  <a:lnTo>
                    <a:pt x="229" y="546"/>
                  </a:lnTo>
                  <a:lnTo>
                    <a:pt x="170" y="521"/>
                  </a:lnTo>
                  <a:lnTo>
                    <a:pt x="120" y="494"/>
                  </a:lnTo>
                  <a:lnTo>
                    <a:pt x="78" y="464"/>
                  </a:lnTo>
                  <a:lnTo>
                    <a:pt x="45" y="434"/>
                  </a:lnTo>
                  <a:lnTo>
                    <a:pt x="19" y="402"/>
                  </a:lnTo>
                  <a:lnTo>
                    <a:pt x="4" y="369"/>
                  </a:lnTo>
                  <a:lnTo>
                    <a:pt x="0" y="334"/>
                  </a:lnTo>
                  <a:lnTo>
                    <a:pt x="3" y="304"/>
                  </a:lnTo>
                  <a:lnTo>
                    <a:pt x="15" y="275"/>
                  </a:lnTo>
                  <a:lnTo>
                    <a:pt x="33" y="248"/>
                  </a:lnTo>
                  <a:lnTo>
                    <a:pt x="58" y="221"/>
                  </a:lnTo>
                  <a:lnTo>
                    <a:pt x="93" y="196"/>
                  </a:lnTo>
                  <a:lnTo>
                    <a:pt x="136" y="173"/>
                  </a:lnTo>
                  <a:lnTo>
                    <a:pt x="185" y="152"/>
                  </a:lnTo>
                  <a:lnTo>
                    <a:pt x="240" y="134"/>
                  </a:lnTo>
                  <a:lnTo>
                    <a:pt x="302" y="117"/>
                  </a:lnTo>
                  <a:lnTo>
                    <a:pt x="368" y="104"/>
                  </a:lnTo>
                  <a:lnTo>
                    <a:pt x="439" y="93"/>
                  </a:lnTo>
                  <a:lnTo>
                    <a:pt x="516" y="84"/>
                  </a:lnTo>
                  <a:lnTo>
                    <a:pt x="441" y="57"/>
                  </a:lnTo>
                  <a:lnTo>
                    <a:pt x="542" y="37"/>
                  </a:lnTo>
                  <a:lnTo>
                    <a:pt x="649" y="21"/>
                  </a:lnTo>
                  <a:lnTo>
                    <a:pt x="762" y="10"/>
                  </a:lnTo>
                  <a:lnTo>
                    <a:pt x="882" y="3"/>
                  </a:lnTo>
                  <a:lnTo>
                    <a:pt x="100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
            <p:cNvSpPr>
              <a:spLocks/>
            </p:cNvSpPr>
            <p:nvPr userDrawn="1"/>
          </p:nvSpPr>
          <p:spPr bwMode="auto">
            <a:xfrm>
              <a:off x="4633807" y="2978233"/>
              <a:ext cx="392709" cy="279082"/>
            </a:xfrm>
            <a:custGeom>
              <a:avLst/>
              <a:gdLst>
                <a:gd name="T0" fmla="*/ 28 w 197"/>
                <a:gd name="T1" fmla="*/ 0 h 140"/>
                <a:gd name="T2" fmla="*/ 197 w 197"/>
                <a:gd name="T3" fmla="*/ 0 h 140"/>
                <a:gd name="T4" fmla="*/ 197 w 197"/>
                <a:gd name="T5" fmla="*/ 45 h 140"/>
                <a:gd name="T6" fmla="*/ 156 w 197"/>
                <a:gd name="T7" fmla="*/ 45 h 140"/>
                <a:gd name="T8" fmla="*/ 156 w 197"/>
                <a:gd name="T9" fmla="*/ 24 h 140"/>
                <a:gd name="T10" fmla="*/ 68 w 197"/>
                <a:gd name="T11" fmla="*/ 24 h 140"/>
                <a:gd name="T12" fmla="*/ 68 w 197"/>
                <a:gd name="T13" fmla="*/ 56 h 140"/>
                <a:gd name="T14" fmla="*/ 159 w 197"/>
                <a:gd name="T15" fmla="*/ 56 h 140"/>
                <a:gd name="T16" fmla="*/ 159 w 197"/>
                <a:gd name="T17" fmla="*/ 80 h 140"/>
                <a:gd name="T18" fmla="*/ 68 w 197"/>
                <a:gd name="T19" fmla="*/ 80 h 140"/>
                <a:gd name="T20" fmla="*/ 68 w 197"/>
                <a:gd name="T21" fmla="*/ 115 h 140"/>
                <a:gd name="T22" fmla="*/ 156 w 197"/>
                <a:gd name="T23" fmla="*/ 115 h 140"/>
                <a:gd name="T24" fmla="*/ 156 w 197"/>
                <a:gd name="T25" fmla="*/ 95 h 140"/>
                <a:gd name="T26" fmla="*/ 197 w 197"/>
                <a:gd name="T27" fmla="*/ 95 h 140"/>
                <a:gd name="T28" fmla="*/ 197 w 197"/>
                <a:gd name="T29" fmla="*/ 140 h 140"/>
                <a:gd name="T30" fmla="*/ 28 w 197"/>
                <a:gd name="T31" fmla="*/ 140 h 140"/>
                <a:gd name="T32" fmla="*/ 28 w 197"/>
                <a:gd name="T33" fmla="*/ 80 h 140"/>
                <a:gd name="T34" fmla="*/ 0 w 197"/>
                <a:gd name="T35" fmla="*/ 80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4"/>
                  </a:lnTo>
                  <a:lnTo>
                    <a:pt x="68" y="24"/>
                  </a:lnTo>
                  <a:lnTo>
                    <a:pt x="68" y="56"/>
                  </a:lnTo>
                  <a:lnTo>
                    <a:pt x="159" y="56"/>
                  </a:lnTo>
                  <a:lnTo>
                    <a:pt x="159" y="80"/>
                  </a:lnTo>
                  <a:lnTo>
                    <a:pt x="68" y="80"/>
                  </a:lnTo>
                  <a:lnTo>
                    <a:pt x="68" y="115"/>
                  </a:lnTo>
                  <a:lnTo>
                    <a:pt x="156" y="115"/>
                  </a:lnTo>
                  <a:lnTo>
                    <a:pt x="156" y="95"/>
                  </a:lnTo>
                  <a:lnTo>
                    <a:pt x="197" y="95"/>
                  </a:lnTo>
                  <a:lnTo>
                    <a:pt x="197" y="140"/>
                  </a:lnTo>
                  <a:lnTo>
                    <a:pt x="28" y="140"/>
                  </a:lnTo>
                  <a:lnTo>
                    <a:pt x="28" y="80"/>
                  </a:lnTo>
                  <a:lnTo>
                    <a:pt x="0" y="80"/>
                  </a:lnTo>
                  <a:lnTo>
                    <a:pt x="0" y="56"/>
                  </a:lnTo>
                  <a:lnTo>
                    <a:pt x="28" y="56"/>
                  </a:lnTo>
                  <a:lnTo>
                    <a:pt x="28"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
            <p:cNvSpPr>
              <a:spLocks/>
            </p:cNvSpPr>
            <p:nvPr userDrawn="1"/>
          </p:nvSpPr>
          <p:spPr bwMode="auto">
            <a:xfrm>
              <a:off x="5182005" y="2972252"/>
              <a:ext cx="368788" cy="291043"/>
            </a:xfrm>
            <a:custGeom>
              <a:avLst/>
              <a:gdLst>
                <a:gd name="T0" fmla="*/ 0 w 185"/>
                <a:gd name="T1" fmla="*/ 0 h 146"/>
                <a:gd name="T2" fmla="*/ 144 w 185"/>
                <a:gd name="T3" fmla="*/ 89 h 146"/>
                <a:gd name="T4" fmla="*/ 144 w 185"/>
                <a:gd name="T5" fmla="*/ 3 h 146"/>
                <a:gd name="T6" fmla="*/ 185 w 185"/>
                <a:gd name="T7" fmla="*/ 3 h 146"/>
                <a:gd name="T8" fmla="*/ 185 w 185"/>
                <a:gd name="T9" fmla="*/ 146 h 146"/>
                <a:gd name="T10" fmla="*/ 41 w 185"/>
                <a:gd name="T11" fmla="*/ 58 h 146"/>
                <a:gd name="T12" fmla="*/ 41 w 185"/>
                <a:gd name="T13" fmla="*/ 143 h 146"/>
                <a:gd name="T14" fmla="*/ 0 w 185"/>
                <a:gd name="T15" fmla="*/ 143 h 146"/>
                <a:gd name="T16" fmla="*/ 0 w 185"/>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46">
                  <a:moveTo>
                    <a:pt x="0" y="0"/>
                  </a:moveTo>
                  <a:lnTo>
                    <a:pt x="144" y="89"/>
                  </a:lnTo>
                  <a:lnTo>
                    <a:pt x="144" y="3"/>
                  </a:lnTo>
                  <a:lnTo>
                    <a:pt x="185" y="3"/>
                  </a:lnTo>
                  <a:lnTo>
                    <a:pt x="185" y="146"/>
                  </a:lnTo>
                  <a:lnTo>
                    <a:pt x="41" y="58"/>
                  </a:lnTo>
                  <a:lnTo>
                    <a:pt x="41" y="143"/>
                  </a:lnTo>
                  <a:lnTo>
                    <a:pt x="0" y="14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
            <p:cNvSpPr>
              <a:spLocks/>
            </p:cNvSpPr>
            <p:nvPr userDrawn="1"/>
          </p:nvSpPr>
          <p:spPr bwMode="auto">
            <a:xfrm>
              <a:off x="5678372" y="2978233"/>
              <a:ext cx="392709" cy="279082"/>
            </a:xfrm>
            <a:custGeom>
              <a:avLst/>
              <a:gdLst>
                <a:gd name="T0" fmla="*/ 26 w 197"/>
                <a:gd name="T1" fmla="*/ 0 h 140"/>
                <a:gd name="T2" fmla="*/ 197 w 197"/>
                <a:gd name="T3" fmla="*/ 0 h 140"/>
                <a:gd name="T4" fmla="*/ 197 w 197"/>
                <a:gd name="T5" fmla="*/ 45 h 140"/>
                <a:gd name="T6" fmla="*/ 155 w 197"/>
                <a:gd name="T7" fmla="*/ 45 h 140"/>
                <a:gd name="T8" fmla="*/ 155 w 197"/>
                <a:gd name="T9" fmla="*/ 24 h 140"/>
                <a:gd name="T10" fmla="*/ 68 w 197"/>
                <a:gd name="T11" fmla="*/ 24 h 140"/>
                <a:gd name="T12" fmla="*/ 68 w 197"/>
                <a:gd name="T13" fmla="*/ 56 h 140"/>
                <a:gd name="T14" fmla="*/ 158 w 197"/>
                <a:gd name="T15" fmla="*/ 56 h 140"/>
                <a:gd name="T16" fmla="*/ 158 w 197"/>
                <a:gd name="T17" fmla="*/ 80 h 140"/>
                <a:gd name="T18" fmla="*/ 68 w 197"/>
                <a:gd name="T19" fmla="*/ 80 h 140"/>
                <a:gd name="T20" fmla="*/ 68 w 197"/>
                <a:gd name="T21" fmla="*/ 115 h 140"/>
                <a:gd name="T22" fmla="*/ 155 w 197"/>
                <a:gd name="T23" fmla="*/ 115 h 140"/>
                <a:gd name="T24" fmla="*/ 155 w 197"/>
                <a:gd name="T25" fmla="*/ 95 h 140"/>
                <a:gd name="T26" fmla="*/ 197 w 197"/>
                <a:gd name="T27" fmla="*/ 95 h 140"/>
                <a:gd name="T28" fmla="*/ 197 w 197"/>
                <a:gd name="T29" fmla="*/ 140 h 140"/>
                <a:gd name="T30" fmla="*/ 26 w 197"/>
                <a:gd name="T31" fmla="*/ 140 h 140"/>
                <a:gd name="T32" fmla="*/ 26 w 197"/>
                <a:gd name="T33" fmla="*/ 80 h 140"/>
                <a:gd name="T34" fmla="*/ 0 w 197"/>
                <a:gd name="T35" fmla="*/ 80 h 140"/>
                <a:gd name="T36" fmla="*/ 0 w 197"/>
                <a:gd name="T37" fmla="*/ 56 h 140"/>
                <a:gd name="T38" fmla="*/ 26 w 197"/>
                <a:gd name="T39" fmla="*/ 56 h 140"/>
                <a:gd name="T40" fmla="*/ 26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6" y="0"/>
                  </a:moveTo>
                  <a:lnTo>
                    <a:pt x="197" y="0"/>
                  </a:lnTo>
                  <a:lnTo>
                    <a:pt x="197" y="45"/>
                  </a:lnTo>
                  <a:lnTo>
                    <a:pt x="155" y="45"/>
                  </a:lnTo>
                  <a:lnTo>
                    <a:pt x="155" y="24"/>
                  </a:lnTo>
                  <a:lnTo>
                    <a:pt x="68" y="24"/>
                  </a:lnTo>
                  <a:lnTo>
                    <a:pt x="68" y="56"/>
                  </a:lnTo>
                  <a:lnTo>
                    <a:pt x="158" y="56"/>
                  </a:lnTo>
                  <a:lnTo>
                    <a:pt x="158" y="80"/>
                  </a:lnTo>
                  <a:lnTo>
                    <a:pt x="68" y="80"/>
                  </a:lnTo>
                  <a:lnTo>
                    <a:pt x="68" y="115"/>
                  </a:lnTo>
                  <a:lnTo>
                    <a:pt x="155" y="115"/>
                  </a:lnTo>
                  <a:lnTo>
                    <a:pt x="155" y="95"/>
                  </a:lnTo>
                  <a:lnTo>
                    <a:pt x="197" y="95"/>
                  </a:lnTo>
                  <a:lnTo>
                    <a:pt x="197" y="140"/>
                  </a:lnTo>
                  <a:lnTo>
                    <a:pt x="26" y="140"/>
                  </a:lnTo>
                  <a:lnTo>
                    <a:pt x="26" y="80"/>
                  </a:lnTo>
                  <a:lnTo>
                    <a:pt x="0" y="80"/>
                  </a:lnTo>
                  <a:lnTo>
                    <a:pt x="0" y="56"/>
                  </a:lnTo>
                  <a:lnTo>
                    <a:pt x="26" y="56"/>
                  </a:lnTo>
                  <a:lnTo>
                    <a:pt x="26"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1"/>
            <p:cNvSpPr>
              <a:spLocks noEditPoints="1"/>
            </p:cNvSpPr>
            <p:nvPr userDrawn="1"/>
          </p:nvSpPr>
          <p:spPr bwMode="auto">
            <a:xfrm>
              <a:off x="6184707" y="2978233"/>
              <a:ext cx="424604" cy="279082"/>
            </a:xfrm>
            <a:custGeom>
              <a:avLst/>
              <a:gdLst>
                <a:gd name="T0" fmla="*/ 68 w 213"/>
                <a:gd name="T1" fmla="*/ 24 h 140"/>
                <a:gd name="T2" fmla="*/ 68 w 213"/>
                <a:gd name="T3" fmla="*/ 56 h 140"/>
                <a:gd name="T4" fmla="*/ 141 w 213"/>
                <a:gd name="T5" fmla="*/ 56 h 140"/>
                <a:gd name="T6" fmla="*/ 154 w 213"/>
                <a:gd name="T7" fmla="*/ 55 h 140"/>
                <a:gd name="T8" fmla="*/ 163 w 213"/>
                <a:gd name="T9" fmla="*/ 51 h 140"/>
                <a:gd name="T10" fmla="*/ 168 w 213"/>
                <a:gd name="T11" fmla="*/ 45 h 140"/>
                <a:gd name="T12" fmla="*/ 169 w 213"/>
                <a:gd name="T13" fmla="*/ 41 h 140"/>
                <a:gd name="T14" fmla="*/ 168 w 213"/>
                <a:gd name="T15" fmla="*/ 35 h 140"/>
                <a:gd name="T16" fmla="*/ 163 w 213"/>
                <a:gd name="T17" fmla="*/ 30 h 140"/>
                <a:gd name="T18" fmla="*/ 154 w 213"/>
                <a:gd name="T19" fmla="*/ 26 h 140"/>
                <a:gd name="T20" fmla="*/ 141 w 213"/>
                <a:gd name="T21" fmla="*/ 24 h 140"/>
                <a:gd name="T22" fmla="*/ 68 w 213"/>
                <a:gd name="T23" fmla="*/ 24 h 140"/>
                <a:gd name="T24" fmla="*/ 27 w 213"/>
                <a:gd name="T25" fmla="*/ 0 h 140"/>
                <a:gd name="T26" fmla="*/ 138 w 213"/>
                <a:gd name="T27" fmla="*/ 0 h 140"/>
                <a:gd name="T28" fmla="*/ 163 w 213"/>
                <a:gd name="T29" fmla="*/ 2 h 140"/>
                <a:gd name="T30" fmla="*/ 184 w 213"/>
                <a:gd name="T31" fmla="*/ 8 h 140"/>
                <a:gd name="T32" fmla="*/ 198 w 213"/>
                <a:gd name="T33" fmla="*/ 15 h 140"/>
                <a:gd name="T34" fmla="*/ 207 w 213"/>
                <a:gd name="T35" fmla="*/ 27 h 140"/>
                <a:gd name="T36" fmla="*/ 210 w 213"/>
                <a:gd name="T37" fmla="*/ 41 h 140"/>
                <a:gd name="T38" fmla="*/ 209 w 213"/>
                <a:gd name="T39" fmla="*/ 51 h 140"/>
                <a:gd name="T40" fmla="*/ 203 w 213"/>
                <a:gd name="T41" fmla="*/ 62 h 140"/>
                <a:gd name="T42" fmla="*/ 192 w 213"/>
                <a:gd name="T43" fmla="*/ 70 h 140"/>
                <a:gd name="T44" fmla="*/ 175 w 213"/>
                <a:gd name="T45" fmla="*/ 76 h 140"/>
                <a:gd name="T46" fmla="*/ 154 w 213"/>
                <a:gd name="T47" fmla="*/ 80 h 140"/>
                <a:gd name="T48" fmla="*/ 213 w 213"/>
                <a:gd name="T49" fmla="*/ 140 h 140"/>
                <a:gd name="T50" fmla="*/ 165 w 213"/>
                <a:gd name="T51" fmla="*/ 140 h 140"/>
                <a:gd name="T52" fmla="*/ 109 w 213"/>
                <a:gd name="T53" fmla="*/ 80 h 140"/>
                <a:gd name="T54" fmla="*/ 68 w 213"/>
                <a:gd name="T55" fmla="*/ 80 h 140"/>
                <a:gd name="T56" fmla="*/ 68 w 213"/>
                <a:gd name="T57" fmla="*/ 140 h 140"/>
                <a:gd name="T58" fmla="*/ 27 w 213"/>
                <a:gd name="T59" fmla="*/ 140 h 140"/>
                <a:gd name="T60" fmla="*/ 27 w 213"/>
                <a:gd name="T61" fmla="*/ 80 h 140"/>
                <a:gd name="T62" fmla="*/ 0 w 213"/>
                <a:gd name="T63" fmla="*/ 80 h 140"/>
                <a:gd name="T64" fmla="*/ 0 w 213"/>
                <a:gd name="T65" fmla="*/ 56 h 140"/>
                <a:gd name="T66" fmla="*/ 27 w 213"/>
                <a:gd name="T67" fmla="*/ 56 h 140"/>
                <a:gd name="T68" fmla="*/ 27 w 213"/>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40">
                  <a:moveTo>
                    <a:pt x="68" y="24"/>
                  </a:moveTo>
                  <a:lnTo>
                    <a:pt x="68" y="56"/>
                  </a:lnTo>
                  <a:lnTo>
                    <a:pt x="141" y="56"/>
                  </a:lnTo>
                  <a:lnTo>
                    <a:pt x="154" y="55"/>
                  </a:lnTo>
                  <a:lnTo>
                    <a:pt x="163" y="51"/>
                  </a:lnTo>
                  <a:lnTo>
                    <a:pt x="168" y="45"/>
                  </a:lnTo>
                  <a:lnTo>
                    <a:pt x="169" y="41"/>
                  </a:lnTo>
                  <a:lnTo>
                    <a:pt x="168" y="35"/>
                  </a:lnTo>
                  <a:lnTo>
                    <a:pt x="163" y="30"/>
                  </a:lnTo>
                  <a:lnTo>
                    <a:pt x="154" y="26"/>
                  </a:lnTo>
                  <a:lnTo>
                    <a:pt x="141" y="24"/>
                  </a:lnTo>
                  <a:lnTo>
                    <a:pt x="68" y="24"/>
                  </a:lnTo>
                  <a:close/>
                  <a:moveTo>
                    <a:pt x="27" y="0"/>
                  </a:moveTo>
                  <a:lnTo>
                    <a:pt x="138" y="0"/>
                  </a:lnTo>
                  <a:lnTo>
                    <a:pt x="163" y="2"/>
                  </a:lnTo>
                  <a:lnTo>
                    <a:pt x="184" y="8"/>
                  </a:lnTo>
                  <a:lnTo>
                    <a:pt x="198" y="15"/>
                  </a:lnTo>
                  <a:lnTo>
                    <a:pt x="207" y="27"/>
                  </a:lnTo>
                  <a:lnTo>
                    <a:pt x="210" y="41"/>
                  </a:lnTo>
                  <a:lnTo>
                    <a:pt x="209" y="51"/>
                  </a:lnTo>
                  <a:lnTo>
                    <a:pt x="203" y="62"/>
                  </a:lnTo>
                  <a:lnTo>
                    <a:pt x="192" y="70"/>
                  </a:lnTo>
                  <a:lnTo>
                    <a:pt x="175" y="76"/>
                  </a:lnTo>
                  <a:lnTo>
                    <a:pt x="154" y="80"/>
                  </a:lnTo>
                  <a:lnTo>
                    <a:pt x="213" y="140"/>
                  </a:lnTo>
                  <a:lnTo>
                    <a:pt x="165" y="140"/>
                  </a:lnTo>
                  <a:lnTo>
                    <a:pt x="109" y="80"/>
                  </a:lnTo>
                  <a:lnTo>
                    <a:pt x="68" y="80"/>
                  </a:lnTo>
                  <a:lnTo>
                    <a:pt x="68" y="140"/>
                  </a:lnTo>
                  <a:lnTo>
                    <a:pt x="27" y="140"/>
                  </a:lnTo>
                  <a:lnTo>
                    <a:pt x="27" y="80"/>
                  </a:lnTo>
                  <a:lnTo>
                    <a:pt x="0" y="80"/>
                  </a:lnTo>
                  <a:lnTo>
                    <a:pt x="0" y="56"/>
                  </a:lnTo>
                  <a:lnTo>
                    <a:pt x="27" y="56"/>
                  </a:lnTo>
                  <a:lnTo>
                    <a:pt x="2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2"/>
            <p:cNvSpPr>
              <a:spLocks/>
            </p:cNvSpPr>
            <p:nvPr userDrawn="1"/>
          </p:nvSpPr>
          <p:spPr bwMode="auto">
            <a:xfrm>
              <a:off x="6691042" y="2972252"/>
              <a:ext cx="476434" cy="291043"/>
            </a:xfrm>
            <a:custGeom>
              <a:avLst/>
              <a:gdLst>
                <a:gd name="T0" fmla="*/ 119 w 239"/>
                <a:gd name="T1" fmla="*/ 0 h 146"/>
                <a:gd name="T2" fmla="*/ 146 w 239"/>
                <a:gd name="T3" fmla="*/ 2 h 146"/>
                <a:gd name="T4" fmla="*/ 171 w 239"/>
                <a:gd name="T5" fmla="*/ 8 h 146"/>
                <a:gd name="T6" fmla="*/ 195 w 239"/>
                <a:gd name="T7" fmla="*/ 17 h 146"/>
                <a:gd name="T8" fmla="*/ 214 w 239"/>
                <a:gd name="T9" fmla="*/ 29 h 146"/>
                <a:gd name="T10" fmla="*/ 181 w 239"/>
                <a:gd name="T11" fmla="*/ 45 h 146"/>
                <a:gd name="T12" fmla="*/ 165 w 239"/>
                <a:gd name="T13" fmla="*/ 33 h 146"/>
                <a:gd name="T14" fmla="*/ 143 w 239"/>
                <a:gd name="T15" fmla="*/ 27 h 146"/>
                <a:gd name="T16" fmla="*/ 119 w 239"/>
                <a:gd name="T17" fmla="*/ 24 h 146"/>
                <a:gd name="T18" fmla="*/ 97 w 239"/>
                <a:gd name="T19" fmla="*/ 27 h 146"/>
                <a:gd name="T20" fmla="*/ 75 w 239"/>
                <a:gd name="T21" fmla="*/ 33 h 146"/>
                <a:gd name="T22" fmla="*/ 59 w 239"/>
                <a:gd name="T23" fmla="*/ 44 h 146"/>
                <a:gd name="T24" fmla="*/ 47 w 239"/>
                <a:gd name="T25" fmla="*/ 58 h 146"/>
                <a:gd name="T26" fmla="*/ 44 w 239"/>
                <a:gd name="T27" fmla="*/ 73 h 146"/>
                <a:gd name="T28" fmla="*/ 47 w 239"/>
                <a:gd name="T29" fmla="*/ 89 h 146"/>
                <a:gd name="T30" fmla="*/ 59 w 239"/>
                <a:gd name="T31" fmla="*/ 101 h 146"/>
                <a:gd name="T32" fmla="*/ 75 w 239"/>
                <a:gd name="T33" fmla="*/ 112 h 146"/>
                <a:gd name="T34" fmla="*/ 97 w 239"/>
                <a:gd name="T35" fmla="*/ 119 h 146"/>
                <a:gd name="T36" fmla="*/ 119 w 239"/>
                <a:gd name="T37" fmla="*/ 121 h 146"/>
                <a:gd name="T38" fmla="*/ 145 w 239"/>
                <a:gd name="T39" fmla="*/ 119 h 146"/>
                <a:gd name="T40" fmla="*/ 168 w 239"/>
                <a:gd name="T41" fmla="*/ 112 h 146"/>
                <a:gd name="T42" fmla="*/ 184 w 239"/>
                <a:gd name="T43" fmla="*/ 100 h 146"/>
                <a:gd name="T44" fmla="*/ 195 w 239"/>
                <a:gd name="T45" fmla="*/ 83 h 146"/>
                <a:gd name="T46" fmla="*/ 119 w 239"/>
                <a:gd name="T47" fmla="*/ 83 h 146"/>
                <a:gd name="T48" fmla="*/ 119 w 239"/>
                <a:gd name="T49" fmla="*/ 59 h 146"/>
                <a:gd name="T50" fmla="*/ 239 w 239"/>
                <a:gd name="T51" fmla="*/ 59 h 146"/>
                <a:gd name="T52" fmla="*/ 239 w 239"/>
                <a:gd name="T53" fmla="*/ 77 h 146"/>
                <a:gd name="T54" fmla="*/ 237 w 239"/>
                <a:gd name="T55" fmla="*/ 88 h 146"/>
                <a:gd name="T56" fmla="*/ 233 w 239"/>
                <a:gd name="T57" fmla="*/ 98 h 146"/>
                <a:gd name="T58" fmla="*/ 223 w 239"/>
                <a:gd name="T59" fmla="*/ 109 h 146"/>
                <a:gd name="T60" fmla="*/ 211 w 239"/>
                <a:gd name="T61" fmla="*/ 121 h 146"/>
                <a:gd name="T62" fmla="*/ 195 w 239"/>
                <a:gd name="T63" fmla="*/ 130 h 146"/>
                <a:gd name="T64" fmla="*/ 175 w 239"/>
                <a:gd name="T65" fmla="*/ 139 h 146"/>
                <a:gd name="T66" fmla="*/ 149 w 239"/>
                <a:gd name="T67" fmla="*/ 143 h 146"/>
                <a:gd name="T68" fmla="*/ 119 w 239"/>
                <a:gd name="T69" fmla="*/ 146 h 146"/>
                <a:gd name="T70" fmla="*/ 88 w 239"/>
                <a:gd name="T71" fmla="*/ 143 h 146"/>
                <a:gd name="T72" fmla="*/ 59 w 239"/>
                <a:gd name="T73" fmla="*/ 136 h 146"/>
                <a:gd name="T74" fmla="*/ 35 w 239"/>
                <a:gd name="T75" fmla="*/ 125 h 146"/>
                <a:gd name="T76" fmla="*/ 17 w 239"/>
                <a:gd name="T77" fmla="*/ 110 h 146"/>
                <a:gd name="T78" fmla="*/ 4 w 239"/>
                <a:gd name="T79" fmla="*/ 92 h 146"/>
                <a:gd name="T80" fmla="*/ 0 w 239"/>
                <a:gd name="T81" fmla="*/ 73 h 146"/>
                <a:gd name="T82" fmla="*/ 4 w 239"/>
                <a:gd name="T83" fmla="*/ 53 h 146"/>
                <a:gd name="T84" fmla="*/ 17 w 239"/>
                <a:gd name="T85" fmla="*/ 36 h 146"/>
                <a:gd name="T86" fmla="*/ 35 w 239"/>
                <a:gd name="T87" fmla="*/ 21 h 146"/>
                <a:gd name="T88" fmla="*/ 59 w 239"/>
                <a:gd name="T89" fmla="*/ 11 h 146"/>
                <a:gd name="T90" fmla="*/ 88 w 239"/>
                <a:gd name="T91" fmla="*/ 3 h 146"/>
                <a:gd name="T92" fmla="*/ 119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19" y="0"/>
                  </a:moveTo>
                  <a:lnTo>
                    <a:pt x="146" y="2"/>
                  </a:lnTo>
                  <a:lnTo>
                    <a:pt x="171" y="8"/>
                  </a:lnTo>
                  <a:lnTo>
                    <a:pt x="195" y="17"/>
                  </a:lnTo>
                  <a:lnTo>
                    <a:pt x="214" y="29"/>
                  </a:lnTo>
                  <a:lnTo>
                    <a:pt x="181" y="45"/>
                  </a:lnTo>
                  <a:lnTo>
                    <a:pt x="165" y="33"/>
                  </a:lnTo>
                  <a:lnTo>
                    <a:pt x="143" y="27"/>
                  </a:lnTo>
                  <a:lnTo>
                    <a:pt x="119" y="24"/>
                  </a:lnTo>
                  <a:lnTo>
                    <a:pt x="97" y="27"/>
                  </a:lnTo>
                  <a:lnTo>
                    <a:pt x="75" y="33"/>
                  </a:lnTo>
                  <a:lnTo>
                    <a:pt x="59" y="44"/>
                  </a:lnTo>
                  <a:lnTo>
                    <a:pt x="47" y="58"/>
                  </a:lnTo>
                  <a:lnTo>
                    <a:pt x="44" y="73"/>
                  </a:lnTo>
                  <a:lnTo>
                    <a:pt x="47" y="89"/>
                  </a:lnTo>
                  <a:lnTo>
                    <a:pt x="59" y="101"/>
                  </a:lnTo>
                  <a:lnTo>
                    <a:pt x="75" y="112"/>
                  </a:lnTo>
                  <a:lnTo>
                    <a:pt x="97" y="119"/>
                  </a:lnTo>
                  <a:lnTo>
                    <a:pt x="119" y="121"/>
                  </a:lnTo>
                  <a:lnTo>
                    <a:pt x="145" y="119"/>
                  </a:lnTo>
                  <a:lnTo>
                    <a:pt x="168" y="112"/>
                  </a:lnTo>
                  <a:lnTo>
                    <a:pt x="184" y="100"/>
                  </a:lnTo>
                  <a:lnTo>
                    <a:pt x="195" y="83"/>
                  </a:lnTo>
                  <a:lnTo>
                    <a:pt x="119" y="83"/>
                  </a:lnTo>
                  <a:lnTo>
                    <a:pt x="119" y="59"/>
                  </a:lnTo>
                  <a:lnTo>
                    <a:pt x="239" y="59"/>
                  </a:lnTo>
                  <a:lnTo>
                    <a:pt x="239" y="77"/>
                  </a:lnTo>
                  <a:lnTo>
                    <a:pt x="237" y="88"/>
                  </a:lnTo>
                  <a:lnTo>
                    <a:pt x="233" y="98"/>
                  </a:lnTo>
                  <a:lnTo>
                    <a:pt x="223" y="109"/>
                  </a:lnTo>
                  <a:lnTo>
                    <a:pt x="211" y="121"/>
                  </a:lnTo>
                  <a:lnTo>
                    <a:pt x="195" y="130"/>
                  </a:lnTo>
                  <a:lnTo>
                    <a:pt x="175" y="139"/>
                  </a:lnTo>
                  <a:lnTo>
                    <a:pt x="149" y="143"/>
                  </a:lnTo>
                  <a:lnTo>
                    <a:pt x="119" y="146"/>
                  </a:lnTo>
                  <a:lnTo>
                    <a:pt x="88" y="143"/>
                  </a:lnTo>
                  <a:lnTo>
                    <a:pt x="59" y="136"/>
                  </a:lnTo>
                  <a:lnTo>
                    <a:pt x="35" y="125"/>
                  </a:lnTo>
                  <a:lnTo>
                    <a:pt x="17" y="110"/>
                  </a:lnTo>
                  <a:lnTo>
                    <a:pt x="4" y="92"/>
                  </a:lnTo>
                  <a:lnTo>
                    <a:pt x="0" y="73"/>
                  </a:lnTo>
                  <a:lnTo>
                    <a:pt x="4" y="53"/>
                  </a:lnTo>
                  <a:lnTo>
                    <a:pt x="17" y="36"/>
                  </a:lnTo>
                  <a:lnTo>
                    <a:pt x="35" y="21"/>
                  </a:lnTo>
                  <a:lnTo>
                    <a:pt x="59" y="11"/>
                  </a:lnTo>
                  <a:lnTo>
                    <a:pt x="88" y="3"/>
                  </a:lnTo>
                  <a:lnTo>
                    <a:pt x="119"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3"/>
            <p:cNvSpPr>
              <a:spLocks/>
            </p:cNvSpPr>
            <p:nvPr userDrawn="1"/>
          </p:nvSpPr>
          <p:spPr bwMode="auto">
            <a:xfrm>
              <a:off x="7203358" y="2978233"/>
              <a:ext cx="400683" cy="279082"/>
            </a:xfrm>
            <a:custGeom>
              <a:avLst/>
              <a:gdLst>
                <a:gd name="T0" fmla="*/ 0 w 201"/>
                <a:gd name="T1" fmla="*/ 0 h 140"/>
                <a:gd name="T2" fmla="*/ 47 w 201"/>
                <a:gd name="T3" fmla="*/ 0 h 140"/>
                <a:gd name="T4" fmla="*/ 99 w 201"/>
                <a:gd name="T5" fmla="*/ 55 h 140"/>
                <a:gd name="T6" fmla="*/ 152 w 201"/>
                <a:gd name="T7" fmla="*/ 0 h 140"/>
                <a:gd name="T8" fmla="*/ 201 w 201"/>
                <a:gd name="T9" fmla="*/ 0 h 140"/>
                <a:gd name="T10" fmla="*/ 121 w 201"/>
                <a:gd name="T11" fmla="*/ 79 h 140"/>
                <a:gd name="T12" fmla="*/ 121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7" y="0"/>
                  </a:lnTo>
                  <a:lnTo>
                    <a:pt x="99" y="55"/>
                  </a:lnTo>
                  <a:lnTo>
                    <a:pt x="152" y="0"/>
                  </a:lnTo>
                  <a:lnTo>
                    <a:pt x="201" y="0"/>
                  </a:lnTo>
                  <a:lnTo>
                    <a:pt x="121" y="79"/>
                  </a:lnTo>
                  <a:lnTo>
                    <a:pt x="121" y="140"/>
                  </a:lnTo>
                  <a:lnTo>
                    <a:pt x="80" y="140"/>
                  </a:lnTo>
                  <a:lnTo>
                    <a:pt x="80" y="79"/>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4"/>
            <p:cNvSpPr>
              <a:spLocks/>
            </p:cNvSpPr>
            <p:nvPr userDrawn="1"/>
          </p:nvSpPr>
          <p:spPr bwMode="auto">
            <a:xfrm>
              <a:off x="4619853" y="2960291"/>
              <a:ext cx="390715" cy="279082"/>
            </a:xfrm>
            <a:custGeom>
              <a:avLst/>
              <a:gdLst>
                <a:gd name="T0" fmla="*/ 26 w 196"/>
                <a:gd name="T1" fmla="*/ 0 h 140"/>
                <a:gd name="T2" fmla="*/ 196 w 196"/>
                <a:gd name="T3" fmla="*/ 0 h 140"/>
                <a:gd name="T4" fmla="*/ 196 w 196"/>
                <a:gd name="T5" fmla="*/ 45 h 140"/>
                <a:gd name="T6" fmla="*/ 154 w 196"/>
                <a:gd name="T7" fmla="*/ 45 h 140"/>
                <a:gd name="T8" fmla="*/ 154 w 196"/>
                <a:gd name="T9" fmla="*/ 26 h 140"/>
                <a:gd name="T10" fmla="*/ 66 w 196"/>
                <a:gd name="T11" fmla="*/ 26 h 140"/>
                <a:gd name="T12" fmla="*/ 66 w 196"/>
                <a:gd name="T13" fmla="*/ 56 h 140"/>
                <a:gd name="T14" fmla="*/ 157 w 196"/>
                <a:gd name="T15" fmla="*/ 56 h 140"/>
                <a:gd name="T16" fmla="*/ 157 w 196"/>
                <a:gd name="T17" fmla="*/ 82 h 140"/>
                <a:gd name="T18" fmla="*/ 66 w 196"/>
                <a:gd name="T19" fmla="*/ 82 h 140"/>
                <a:gd name="T20" fmla="*/ 66 w 196"/>
                <a:gd name="T21" fmla="*/ 116 h 140"/>
                <a:gd name="T22" fmla="*/ 154 w 196"/>
                <a:gd name="T23" fmla="*/ 116 h 140"/>
                <a:gd name="T24" fmla="*/ 154 w 196"/>
                <a:gd name="T25" fmla="*/ 95 h 140"/>
                <a:gd name="T26" fmla="*/ 196 w 196"/>
                <a:gd name="T27" fmla="*/ 95 h 140"/>
                <a:gd name="T28" fmla="*/ 196 w 196"/>
                <a:gd name="T29" fmla="*/ 140 h 140"/>
                <a:gd name="T30" fmla="*/ 26 w 196"/>
                <a:gd name="T31" fmla="*/ 140 h 140"/>
                <a:gd name="T32" fmla="*/ 26 w 196"/>
                <a:gd name="T33" fmla="*/ 82 h 140"/>
                <a:gd name="T34" fmla="*/ 0 w 196"/>
                <a:gd name="T35" fmla="*/ 82 h 140"/>
                <a:gd name="T36" fmla="*/ 0 w 196"/>
                <a:gd name="T37" fmla="*/ 56 h 140"/>
                <a:gd name="T38" fmla="*/ 26 w 196"/>
                <a:gd name="T39" fmla="*/ 56 h 140"/>
                <a:gd name="T40" fmla="*/ 26 w 196"/>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140">
                  <a:moveTo>
                    <a:pt x="26" y="0"/>
                  </a:moveTo>
                  <a:lnTo>
                    <a:pt x="196" y="0"/>
                  </a:lnTo>
                  <a:lnTo>
                    <a:pt x="196" y="45"/>
                  </a:lnTo>
                  <a:lnTo>
                    <a:pt x="154" y="45"/>
                  </a:lnTo>
                  <a:lnTo>
                    <a:pt x="154" y="26"/>
                  </a:lnTo>
                  <a:lnTo>
                    <a:pt x="66" y="26"/>
                  </a:lnTo>
                  <a:lnTo>
                    <a:pt x="66" y="56"/>
                  </a:lnTo>
                  <a:lnTo>
                    <a:pt x="157" y="56"/>
                  </a:lnTo>
                  <a:lnTo>
                    <a:pt x="157" y="82"/>
                  </a:lnTo>
                  <a:lnTo>
                    <a:pt x="66" y="82"/>
                  </a:lnTo>
                  <a:lnTo>
                    <a:pt x="66" y="116"/>
                  </a:lnTo>
                  <a:lnTo>
                    <a:pt x="154" y="116"/>
                  </a:lnTo>
                  <a:lnTo>
                    <a:pt x="154" y="95"/>
                  </a:lnTo>
                  <a:lnTo>
                    <a:pt x="196" y="95"/>
                  </a:lnTo>
                  <a:lnTo>
                    <a:pt x="196" y="140"/>
                  </a:lnTo>
                  <a:lnTo>
                    <a:pt x="26" y="140"/>
                  </a:lnTo>
                  <a:lnTo>
                    <a:pt x="26" y="82"/>
                  </a:lnTo>
                  <a:lnTo>
                    <a:pt x="0" y="82"/>
                  </a:lnTo>
                  <a:lnTo>
                    <a:pt x="0" y="56"/>
                  </a:lnTo>
                  <a:lnTo>
                    <a:pt x="26" y="56"/>
                  </a:lnTo>
                  <a:lnTo>
                    <a:pt x="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5"/>
            <p:cNvSpPr>
              <a:spLocks/>
            </p:cNvSpPr>
            <p:nvPr userDrawn="1"/>
          </p:nvSpPr>
          <p:spPr bwMode="auto">
            <a:xfrm>
              <a:off x="5164063" y="2954312"/>
              <a:ext cx="370781" cy="291043"/>
            </a:xfrm>
            <a:custGeom>
              <a:avLst/>
              <a:gdLst>
                <a:gd name="T0" fmla="*/ 0 w 186"/>
                <a:gd name="T1" fmla="*/ 0 h 146"/>
                <a:gd name="T2" fmla="*/ 144 w 186"/>
                <a:gd name="T3" fmla="*/ 89 h 146"/>
                <a:gd name="T4" fmla="*/ 144 w 186"/>
                <a:gd name="T5" fmla="*/ 3 h 146"/>
                <a:gd name="T6" fmla="*/ 186 w 186"/>
                <a:gd name="T7" fmla="*/ 3 h 146"/>
                <a:gd name="T8" fmla="*/ 186 w 186"/>
                <a:gd name="T9" fmla="*/ 146 h 146"/>
                <a:gd name="T10" fmla="*/ 43 w 186"/>
                <a:gd name="T11" fmla="*/ 57 h 146"/>
                <a:gd name="T12" fmla="*/ 43 w 186"/>
                <a:gd name="T13" fmla="*/ 143 h 146"/>
                <a:gd name="T14" fmla="*/ 0 w 186"/>
                <a:gd name="T15" fmla="*/ 143 h 146"/>
                <a:gd name="T16" fmla="*/ 0 w 186"/>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6">
                  <a:moveTo>
                    <a:pt x="0" y="0"/>
                  </a:moveTo>
                  <a:lnTo>
                    <a:pt x="144" y="89"/>
                  </a:lnTo>
                  <a:lnTo>
                    <a:pt x="144" y="3"/>
                  </a:lnTo>
                  <a:lnTo>
                    <a:pt x="186" y="3"/>
                  </a:lnTo>
                  <a:lnTo>
                    <a:pt x="186" y="146"/>
                  </a:lnTo>
                  <a:lnTo>
                    <a:pt x="43" y="57"/>
                  </a:lnTo>
                  <a:lnTo>
                    <a:pt x="43" y="143"/>
                  </a:lnTo>
                  <a:lnTo>
                    <a:pt x="0" y="14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6"/>
            <p:cNvSpPr>
              <a:spLocks/>
            </p:cNvSpPr>
            <p:nvPr userDrawn="1"/>
          </p:nvSpPr>
          <p:spPr bwMode="auto">
            <a:xfrm>
              <a:off x="5660431" y="2960291"/>
              <a:ext cx="392709" cy="279082"/>
            </a:xfrm>
            <a:custGeom>
              <a:avLst/>
              <a:gdLst>
                <a:gd name="T0" fmla="*/ 28 w 197"/>
                <a:gd name="T1" fmla="*/ 0 h 140"/>
                <a:gd name="T2" fmla="*/ 197 w 197"/>
                <a:gd name="T3" fmla="*/ 0 h 140"/>
                <a:gd name="T4" fmla="*/ 197 w 197"/>
                <a:gd name="T5" fmla="*/ 45 h 140"/>
                <a:gd name="T6" fmla="*/ 156 w 197"/>
                <a:gd name="T7" fmla="*/ 45 h 140"/>
                <a:gd name="T8" fmla="*/ 156 w 197"/>
                <a:gd name="T9" fmla="*/ 26 h 140"/>
                <a:gd name="T10" fmla="*/ 68 w 197"/>
                <a:gd name="T11" fmla="*/ 26 h 140"/>
                <a:gd name="T12" fmla="*/ 68 w 197"/>
                <a:gd name="T13" fmla="*/ 56 h 140"/>
                <a:gd name="T14" fmla="*/ 159 w 197"/>
                <a:gd name="T15" fmla="*/ 56 h 140"/>
                <a:gd name="T16" fmla="*/ 159 w 197"/>
                <a:gd name="T17" fmla="*/ 82 h 140"/>
                <a:gd name="T18" fmla="*/ 68 w 197"/>
                <a:gd name="T19" fmla="*/ 82 h 140"/>
                <a:gd name="T20" fmla="*/ 68 w 197"/>
                <a:gd name="T21" fmla="*/ 116 h 140"/>
                <a:gd name="T22" fmla="*/ 156 w 197"/>
                <a:gd name="T23" fmla="*/ 116 h 140"/>
                <a:gd name="T24" fmla="*/ 156 w 197"/>
                <a:gd name="T25" fmla="*/ 95 h 140"/>
                <a:gd name="T26" fmla="*/ 197 w 197"/>
                <a:gd name="T27" fmla="*/ 95 h 140"/>
                <a:gd name="T28" fmla="*/ 197 w 197"/>
                <a:gd name="T29" fmla="*/ 140 h 140"/>
                <a:gd name="T30" fmla="*/ 28 w 197"/>
                <a:gd name="T31" fmla="*/ 140 h 140"/>
                <a:gd name="T32" fmla="*/ 28 w 197"/>
                <a:gd name="T33" fmla="*/ 82 h 140"/>
                <a:gd name="T34" fmla="*/ 0 w 197"/>
                <a:gd name="T35" fmla="*/ 82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6"/>
                  </a:lnTo>
                  <a:lnTo>
                    <a:pt x="68" y="26"/>
                  </a:lnTo>
                  <a:lnTo>
                    <a:pt x="68" y="56"/>
                  </a:lnTo>
                  <a:lnTo>
                    <a:pt x="159" y="56"/>
                  </a:lnTo>
                  <a:lnTo>
                    <a:pt x="159" y="82"/>
                  </a:lnTo>
                  <a:lnTo>
                    <a:pt x="68" y="82"/>
                  </a:lnTo>
                  <a:lnTo>
                    <a:pt x="68" y="116"/>
                  </a:lnTo>
                  <a:lnTo>
                    <a:pt x="156" y="116"/>
                  </a:lnTo>
                  <a:lnTo>
                    <a:pt x="156" y="95"/>
                  </a:lnTo>
                  <a:lnTo>
                    <a:pt x="197" y="95"/>
                  </a:lnTo>
                  <a:lnTo>
                    <a:pt x="197" y="140"/>
                  </a:lnTo>
                  <a:lnTo>
                    <a:pt x="28" y="140"/>
                  </a:lnTo>
                  <a:lnTo>
                    <a:pt x="28" y="82"/>
                  </a:lnTo>
                  <a:lnTo>
                    <a:pt x="0" y="82"/>
                  </a:lnTo>
                  <a:lnTo>
                    <a:pt x="0" y="56"/>
                  </a:lnTo>
                  <a:lnTo>
                    <a:pt x="28" y="56"/>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7"/>
            <p:cNvSpPr>
              <a:spLocks noEditPoints="1"/>
            </p:cNvSpPr>
            <p:nvPr userDrawn="1"/>
          </p:nvSpPr>
          <p:spPr bwMode="auto">
            <a:xfrm>
              <a:off x="6170753" y="2960291"/>
              <a:ext cx="420618" cy="279082"/>
            </a:xfrm>
            <a:custGeom>
              <a:avLst/>
              <a:gdLst>
                <a:gd name="T0" fmla="*/ 66 w 211"/>
                <a:gd name="T1" fmla="*/ 26 h 140"/>
                <a:gd name="T2" fmla="*/ 66 w 211"/>
                <a:gd name="T3" fmla="*/ 56 h 140"/>
                <a:gd name="T4" fmla="*/ 139 w 211"/>
                <a:gd name="T5" fmla="*/ 56 h 140"/>
                <a:gd name="T6" fmla="*/ 152 w 211"/>
                <a:gd name="T7" fmla="*/ 54 h 140"/>
                <a:gd name="T8" fmla="*/ 161 w 211"/>
                <a:gd name="T9" fmla="*/ 51 h 140"/>
                <a:gd name="T10" fmla="*/ 166 w 211"/>
                <a:gd name="T11" fmla="*/ 47 h 140"/>
                <a:gd name="T12" fmla="*/ 167 w 211"/>
                <a:gd name="T13" fmla="*/ 41 h 140"/>
                <a:gd name="T14" fmla="*/ 166 w 211"/>
                <a:gd name="T15" fmla="*/ 35 h 140"/>
                <a:gd name="T16" fmla="*/ 161 w 211"/>
                <a:gd name="T17" fmla="*/ 30 h 140"/>
                <a:gd name="T18" fmla="*/ 152 w 211"/>
                <a:gd name="T19" fmla="*/ 27 h 140"/>
                <a:gd name="T20" fmla="*/ 139 w 211"/>
                <a:gd name="T21" fmla="*/ 26 h 140"/>
                <a:gd name="T22" fmla="*/ 66 w 211"/>
                <a:gd name="T23" fmla="*/ 26 h 140"/>
                <a:gd name="T24" fmla="*/ 25 w 211"/>
                <a:gd name="T25" fmla="*/ 0 h 140"/>
                <a:gd name="T26" fmla="*/ 136 w 211"/>
                <a:gd name="T27" fmla="*/ 0 h 140"/>
                <a:gd name="T28" fmla="*/ 163 w 211"/>
                <a:gd name="T29" fmla="*/ 3 h 140"/>
                <a:gd name="T30" fmla="*/ 182 w 211"/>
                <a:gd name="T31" fmla="*/ 8 h 140"/>
                <a:gd name="T32" fmla="*/ 198 w 211"/>
                <a:gd name="T33" fmla="*/ 17 h 140"/>
                <a:gd name="T34" fmla="*/ 207 w 211"/>
                <a:gd name="T35" fmla="*/ 27 h 140"/>
                <a:gd name="T36" fmla="*/ 210 w 211"/>
                <a:gd name="T37" fmla="*/ 41 h 140"/>
                <a:gd name="T38" fmla="*/ 207 w 211"/>
                <a:gd name="T39" fmla="*/ 51 h 140"/>
                <a:gd name="T40" fmla="*/ 201 w 211"/>
                <a:gd name="T41" fmla="*/ 62 h 140"/>
                <a:gd name="T42" fmla="*/ 190 w 211"/>
                <a:gd name="T43" fmla="*/ 70 h 140"/>
                <a:gd name="T44" fmla="*/ 175 w 211"/>
                <a:gd name="T45" fmla="*/ 77 h 140"/>
                <a:gd name="T46" fmla="*/ 152 w 211"/>
                <a:gd name="T47" fmla="*/ 80 h 140"/>
                <a:gd name="T48" fmla="*/ 211 w 211"/>
                <a:gd name="T49" fmla="*/ 140 h 140"/>
                <a:gd name="T50" fmla="*/ 163 w 211"/>
                <a:gd name="T51" fmla="*/ 140 h 140"/>
                <a:gd name="T52" fmla="*/ 107 w 211"/>
                <a:gd name="T53" fmla="*/ 82 h 140"/>
                <a:gd name="T54" fmla="*/ 66 w 211"/>
                <a:gd name="T55" fmla="*/ 82 h 140"/>
                <a:gd name="T56" fmla="*/ 66 w 211"/>
                <a:gd name="T57" fmla="*/ 140 h 140"/>
                <a:gd name="T58" fmla="*/ 25 w 211"/>
                <a:gd name="T59" fmla="*/ 140 h 140"/>
                <a:gd name="T60" fmla="*/ 25 w 211"/>
                <a:gd name="T61" fmla="*/ 82 h 140"/>
                <a:gd name="T62" fmla="*/ 0 w 211"/>
                <a:gd name="T63" fmla="*/ 82 h 140"/>
                <a:gd name="T64" fmla="*/ 0 w 211"/>
                <a:gd name="T65" fmla="*/ 56 h 140"/>
                <a:gd name="T66" fmla="*/ 25 w 211"/>
                <a:gd name="T67" fmla="*/ 56 h 140"/>
                <a:gd name="T68" fmla="*/ 25 w 211"/>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140">
                  <a:moveTo>
                    <a:pt x="66" y="26"/>
                  </a:moveTo>
                  <a:lnTo>
                    <a:pt x="66" y="56"/>
                  </a:lnTo>
                  <a:lnTo>
                    <a:pt x="139" y="56"/>
                  </a:lnTo>
                  <a:lnTo>
                    <a:pt x="152" y="54"/>
                  </a:lnTo>
                  <a:lnTo>
                    <a:pt x="161" y="51"/>
                  </a:lnTo>
                  <a:lnTo>
                    <a:pt x="166" y="47"/>
                  </a:lnTo>
                  <a:lnTo>
                    <a:pt x="167" y="41"/>
                  </a:lnTo>
                  <a:lnTo>
                    <a:pt x="166" y="35"/>
                  </a:lnTo>
                  <a:lnTo>
                    <a:pt x="161" y="30"/>
                  </a:lnTo>
                  <a:lnTo>
                    <a:pt x="152" y="27"/>
                  </a:lnTo>
                  <a:lnTo>
                    <a:pt x="139" y="26"/>
                  </a:lnTo>
                  <a:lnTo>
                    <a:pt x="66" y="26"/>
                  </a:lnTo>
                  <a:close/>
                  <a:moveTo>
                    <a:pt x="25" y="0"/>
                  </a:moveTo>
                  <a:lnTo>
                    <a:pt x="136" y="0"/>
                  </a:lnTo>
                  <a:lnTo>
                    <a:pt x="163" y="3"/>
                  </a:lnTo>
                  <a:lnTo>
                    <a:pt x="182" y="8"/>
                  </a:lnTo>
                  <a:lnTo>
                    <a:pt x="198" y="17"/>
                  </a:lnTo>
                  <a:lnTo>
                    <a:pt x="207" y="27"/>
                  </a:lnTo>
                  <a:lnTo>
                    <a:pt x="210" y="41"/>
                  </a:lnTo>
                  <a:lnTo>
                    <a:pt x="207" y="51"/>
                  </a:lnTo>
                  <a:lnTo>
                    <a:pt x="201" y="62"/>
                  </a:lnTo>
                  <a:lnTo>
                    <a:pt x="190" y="70"/>
                  </a:lnTo>
                  <a:lnTo>
                    <a:pt x="175" y="77"/>
                  </a:lnTo>
                  <a:lnTo>
                    <a:pt x="152" y="80"/>
                  </a:lnTo>
                  <a:lnTo>
                    <a:pt x="211" y="140"/>
                  </a:lnTo>
                  <a:lnTo>
                    <a:pt x="163" y="140"/>
                  </a:lnTo>
                  <a:lnTo>
                    <a:pt x="107" y="82"/>
                  </a:lnTo>
                  <a:lnTo>
                    <a:pt x="66" y="82"/>
                  </a:lnTo>
                  <a:lnTo>
                    <a:pt x="66" y="140"/>
                  </a:lnTo>
                  <a:lnTo>
                    <a:pt x="25" y="140"/>
                  </a:lnTo>
                  <a:lnTo>
                    <a:pt x="25" y="82"/>
                  </a:lnTo>
                  <a:lnTo>
                    <a:pt x="0" y="82"/>
                  </a:lnTo>
                  <a:lnTo>
                    <a:pt x="0" y="56"/>
                  </a:lnTo>
                  <a:lnTo>
                    <a:pt x="25" y="56"/>
                  </a:lnTo>
                  <a:lnTo>
                    <a:pt x="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8"/>
            <p:cNvSpPr>
              <a:spLocks/>
            </p:cNvSpPr>
            <p:nvPr userDrawn="1"/>
          </p:nvSpPr>
          <p:spPr bwMode="auto">
            <a:xfrm>
              <a:off x="6675094" y="2954312"/>
              <a:ext cx="476434" cy="291043"/>
            </a:xfrm>
            <a:custGeom>
              <a:avLst/>
              <a:gdLst>
                <a:gd name="T0" fmla="*/ 120 w 239"/>
                <a:gd name="T1" fmla="*/ 0 h 146"/>
                <a:gd name="T2" fmla="*/ 145 w 239"/>
                <a:gd name="T3" fmla="*/ 3 h 146"/>
                <a:gd name="T4" fmla="*/ 171 w 239"/>
                <a:gd name="T5" fmla="*/ 8 h 146"/>
                <a:gd name="T6" fmla="*/ 194 w 239"/>
                <a:gd name="T7" fmla="*/ 17 h 146"/>
                <a:gd name="T8" fmla="*/ 213 w 239"/>
                <a:gd name="T9" fmla="*/ 29 h 146"/>
                <a:gd name="T10" fmla="*/ 180 w 239"/>
                <a:gd name="T11" fmla="*/ 45 h 146"/>
                <a:gd name="T12" fmla="*/ 164 w 239"/>
                <a:gd name="T13" fmla="*/ 35 h 146"/>
                <a:gd name="T14" fmla="*/ 142 w 239"/>
                <a:gd name="T15" fmla="*/ 27 h 146"/>
                <a:gd name="T16" fmla="*/ 120 w 239"/>
                <a:gd name="T17" fmla="*/ 26 h 146"/>
                <a:gd name="T18" fmla="*/ 96 w 239"/>
                <a:gd name="T19" fmla="*/ 27 h 146"/>
                <a:gd name="T20" fmla="*/ 74 w 239"/>
                <a:gd name="T21" fmla="*/ 35 h 146"/>
                <a:gd name="T22" fmla="*/ 58 w 239"/>
                <a:gd name="T23" fmla="*/ 45 h 146"/>
                <a:gd name="T24" fmla="*/ 47 w 239"/>
                <a:gd name="T25" fmla="*/ 57 h 146"/>
                <a:gd name="T26" fmla="*/ 43 w 239"/>
                <a:gd name="T27" fmla="*/ 74 h 146"/>
                <a:gd name="T28" fmla="*/ 47 w 239"/>
                <a:gd name="T29" fmla="*/ 89 h 146"/>
                <a:gd name="T30" fmla="*/ 58 w 239"/>
                <a:gd name="T31" fmla="*/ 103 h 146"/>
                <a:gd name="T32" fmla="*/ 74 w 239"/>
                <a:gd name="T33" fmla="*/ 113 h 146"/>
                <a:gd name="T34" fmla="*/ 96 w 239"/>
                <a:gd name="T35" fmla="*/ 119 h 146"/>
                <a:gd name="T36" fmla="*/ 120 w 239"/>
                <a:gd name="T37" fmla="*/ 122 h 146"/>
                <a:gd name="T38" fmla="*/ 145 w 239"/>
                <a:gd name="T39" fmla="*/ 119 h 146"/>
                <a:gd name="T40" fmla="*/ 168 w 239"/>
                <a:gd name="T41" fmla="*/ 112 h 146"/>
                <a:gd name="T42" fmla="*/ 185 w 239"/>
                <a:gd name="T43" fmla="*/ 100 h 146"/>
                <a:gd name="T44" fmla="*/ 195 w 239"/>
                <a:gd name="T45" fmla="*/ 85 h 146"/>
                <a:gd name="T46" fmla="*/ 118 w 239"/>
                <a:gd name="T47" fmla="*/ 85 h 146"/>
                <a:gd name="T48" fmla="*/ 118 w 239"/>
                <a:gd name="T49" fmla="*/ 59 h 146"/>
                <a:gd name="T50" fmla="*/ 239 w 239"/>
                <a:gd name="T51" fmla="*/ 59 h 146"/>
                <a:gd name="T52" fmla="*/ 239 w 239"/>
                <a:gd name="T53" fmla="*/ 79 h 146"/>
                <a:gd name="T54" fmla="*/ 238 w 239"/>
                <a:gd name="T55" fmla="*/ 88 h 146"/>
                <a:gd name="T56" fmla="*/ 231 w 239"/>
                <a:gd name="T57" fmla="*/ 98 h 146"/>
                <a:gd name="T58" fmla="*/ 224 w 239"/>
                <a:gd name="T59" fmla="*/ 110 h 146"/>
                <a:gd name="T60" fmla="*/ 212 w 239"/>
                <a:gd name="T61" fmla="*/ 121 h 146"/>
                <a:gd name="T62" fmla="*/ 195 w 239"/>
                <a:gd name="T63" fmla="*/ 131 h 146"/>
                <a:gd name="T64" fmla="*/ 174 w 239"/>
                <a:gd name="T65" fmla="*/ 139 h 146"/>
                <a:gd name="T66" fmla="*/ 148 w 239"/>
                <a:gd name="T67" fmla="*/ 145 h 146"/>
                <a:gd name="T68" fmla="*/ 120 w 239"/>
                <a:gd name="T69" fmla="*/ 146 h 146"/>
                <a:gd name="T70" fmla="*/ 86 w 239"/>
                <a:gd name="T71" fmla="*/ 143 h 146"/>
                <a:gd name="T72" fmla="*/ 59 w 239"/>
                <a:gd name="T73" fmla="*/ 136 h 146"/>
                <a:gd name="T74" fmla="*/ 35 w 239"/>
                <a:gd name="T75" fmla="*/ 125 h 146"/>
                <a:gd name="T76" fmla="*/ 15 w 239"/>
                <a:gd name="T77" fmla="*/ 110 h 146"/>
                <a:gd name="T78" fmla="*/ 3 w 239"/>
                <a:gd name="T79" fmla="*/ 94 h 146"/>
                <a:gd name="T80" fmla="*/ 0 w 239"/>
                <a:gd name="T81" fmla="*/ 74 h 146"/>
                <a:gd name="T82" fmla="*/ 3 w 239"/>
                <a:gd name="T83" fmla="*/ 54 h 146"/>
                <a:gd name="T84" fmla="*/ 15 w 239"/>
                <a:gd name="T85" fmla="*/ 36 h 146"/>
                <a:gd name="T86" fmla="*/ 35 w 239"/>
                <a:gd name="T87" fmla="*/ 21 h 146"/>
                <a:gd name="T88" fmla="*/ 59 w 239"/>
                <a:gd name="T89" fmla="*/ 11 h 146"/>
                <a:gd name="T90" fmla="*/ 86 w 239"/>
                <a:gd name="T91" fmla="*/ 3 h 146"/>
                <a:gd name="T92" fmla="*/ 120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20" y="0"/>
                  </a:moveTo>
                  <a:lnTo>
                    <a:pt x="145" y="3"/>
                  </a:lnTo>
                  <a:lnTo>
                    <a:pt x="171" y="8"/>
                  </a:lnTo>
                  <a:lnTo>
                    <a:pt x="194" y="17"/>
                  </a:lnTo>
                  <a:lnTo>
                    <a:pt x="213" y="29"/>
                  </a:lnTo>
                  <a:lnTo>
                    <a:pt x="180" y="45"/>
                  </a:lnTo>
                  <a:lnTo>
                    <a:pt x="164" y="35"/>
                  </a:lnTo>
                  <a:lnTo>
                    <a:pt x="142" y="27"/>
                  </a:lnTo>
                  <a:lnTo>
                    <a:pt x="120" y="26"/>
                  </a:lnTo>
                  <a:lnTo>
                    <a:pt x="96" y="27"/>
                  </a:lnTo>
                  <a:lnTo>
                    <a:pt x="74" y="35"/>
                  </a:lnTo>
                  <a:lnTo>
                    <a:pt x="58" y="45"/>
                  </a:lnTo>
                  <a:lnTo>
                    <a:pt x="47" y="57"/>
                  </a:lnTo>
                  <a:lnTo>
                    <a:pt x="43" y="74"/>
                  </a:lnTo>
                  <a:lnTo>
                    <a:pt x="47" y="89"/>
                  </a:lnTo>
                  <a:lnTo>
                    <a:pt x="58" y="103"/>
                  </a:lnTo>
                  <a:lnTo>
                    <a:pt x="74" y="113"/>
                  </a:lnTo>
                  <a:lnTo>
                    <a:pt x="96" y="119"/>
                  </a:lnTo>
                  <a:lnTo>
                    <a:pt x="120" y="122"/>
                  </a:lnTo>
                  <a:lnTo>
                    <a:pt x="145" y="119"/>
                  </a:lnTo>
                  <a:lnTo>
                    <a:pt x="168" y="112"/>
                  </a:lnTo>
                  <a:lnTo>
                    <a:pt x="185" y="100"/>
                  </a:lnTo>
                  <a:lnTo>
                    <a:pt x="195" y="85"/>
                  </a:lnTo>
                  <a:lnTo>
                    <a:pt x="118" y="85"/>
                  </a:lnTo>
                  <a:lnTo>
                    <a:pt x="118" y="59"/>
                  </a:lnTo>
                  <a:lnTo>
                    <a:pt x="239" y="59"/>
                  </a:lnTo>
                  <a:lnTo>
                    <a:pt x="239" y="79"/>
                  </a:lnTo>
                  <a:lnTo>
                    <a:pt x="238" y="88"/>
                  </a:lnTo>
                  <a:lnTo>
                    <a:pt x="231" y="98"/>
                  </a:lnTo>
                  <a:lnTo>
                    <a:pt x="224" y="110"/>
                  </a:lnTo>
                  <a:lnTo>
                    <a:pt x="212" y="121"/>
                  </a:lnTo>
                  <a:lnTo>
                    <a:pt x="195" y="131"/>
                  </a:lnTo>
                  <a:lnTo>
                    <a:pt x="174" y="139"/>
                  </a:lnTo>
                  <a:lnTo>
                    <a:pt x="148" y="145"/>
                  </a:lnTo>
                  <a:lnTo>
                    <a:pt x="120" y="146"/>
                  </a:lnTo>
                  <a:lnTo>
                    <a:pt x="86" y="143"/>
                  </a:lnTo>
                  <a:lnTo>
                    <a:pt x="59" y="136"/>
                  </a:lnTo>
                  <a:lnTo>
                    <a:pt x="35" y="125"/>
                  </a:lnTo>
                  <a:lnTo>
                    <a:pt x="15" y="110"/>
                  </a:lnTo>
                  <a:lnTo>
                    <a:pt x="3" y="94"/>
                  </a:lnTo>
                  <a:lnTo>
                    <a:pt x="0" y="74"/>
                  </a:lnTo>
                  <a:lnTo>
                    <a:pt x="3" y="54"/>
                  </a:lnTo>
                  <a:lnTo>
                    <a:pt x="15" y="36"/>
                  </a:lnTo>
                  <a:lnTo>
                    <a:pt x="35" y="21"/>
                  </a:lnTo>
                  <a:lnTo>
                    <a:pt x="59" y="11"/>
                  </a:lnTo>
                  <a:lnTo>
                    <a:pt x="86" y="3"/>
                  </a:lnTo>
                  <a:lnTo>
                    <a:pt x="1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9"/>
            <p:cNvSpPr>
              <a:spLocks/>
            </p:cNvSpPr>
            <p:nvPr userDrawn="1"/>
          </p:nvSpPr>
          <p:spPr bwMode="auto">
            <a:xfrm>
              <a:off x="7185416" y="2960291"/>
              <a:ext cx="400683" cy="279082"/>
            </a:xfrm>
            <a:custGeom>
              <a:avLst/>
              <a:gdLst>
                <a:gd name="T0" fmla="*/ 0 w 201"/>
                <a:gd name="T1" fmla="*/ 0 h 140"/>
                <a:gd name="T2" fmla="*/ 48 w 201"/>
                <a:gd name="T3" fmla="*/ 0 h 140"/>
                <a:gd name="T4" fmla="*/ 101 w 201"/>
                <a:gd name="T5" fmla="*/ 54 h 140"/>
                <a:gd name="T6" fmla="*/ 154 w 201"/>
                <a:gd name="T7" fmla="*/ 0 h 140"/>
                <a:gd name="T8" fmla="*/ 201 w 201"/>
                <a:gd name="T9" fmla="*/ 0 h 140"/>
                <a:gd name="T10" fmla="*/ 120 w 201"/>
                <a:gd name="T11" fmla="*/ 79 h 140"/>
                <a:gd name="T12" fmla="*/ 120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8" y="0"/>
                  </a:lnTo>
                  <a:lnTo>
                    <a:pt x="101" y="54"/>
                  </a:lnTo>
                  <a:lnTo>
                    <a:pt x="154" y="0"/>
                  </a:lnTo>
                  <a:lnTo>
                    <a:pt x="201" y="0"/>
                  </a:lnTo>
                  <a:lnTo>
                    <a:pt x="120" y="79"/>
                  </a:lnTo>
                  <a:lnTo>
                    <a:pt x="120" y="140"/>
                  </a:lnTo>
                  <a:lnTo>
                    <a:pt x="80" y="140"/>
                  </a:lnTo>
                  <a:lnTo>
                    <a:pt x="80" y="7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20"/>
            <p:cNvSpPr>
              <a:spLocks noEditPoints="1"/>
            </p:cNvSpPr>
            <p:nvPr userDrawn="1"/>
          </p:nvSpPr>
          <p:spPr bwMode="auto">
            <a:xfrm>
              <a:off x="4645767" y="2567583"/>
              <a:ext cx="536237" cy="320945"/>
            </a:xfrm>
            <a:custGeom>
              <a:avLst/>
              <a:gdLst>
                <a:gd name="T0" fmla="*/ 118 w 269"/>
                <a:gd name="T1" fmla="*/ 45 h 161"/>
                <a:gd name="T2" fmla="*/ 85 w 269"/>
                <a:gd name="T3" fmla="*/ 105 h 161"/>
                <a:gd name="T4" fmla="*/ 148 w 269"/>
                <a:gd name="T5" fmla="*/ 105 h 161"/>
                <a:gd name="T6" fmla="*/ 118 w 269"/>
                <a:gd name="T7" fmla="*/ 45 h 161"/>
                <a:gd name="T8" fmla="*/ 97 w 269"/>
                <a:gd name="T9" fmla="*/ 0 h 161"/>
                <a:gd name="T10" fmla="*/ 182 w 269"/>
                <a:gd name="T11" fmla="*/ 0 h 161"/>
                <a:gd name="T12" fmla="*/ 269 w 269"/>
                <a:gd name="T13" fmla="*/ 158 h 161"/>
                <a:gd name="T14" fmla="*/ 269 w 269"/>
                <a:gd name="T15" fmla="*/ 161 h 161"/>
                <a:gd name="T16" fmla="*/ 179 w 269"/>
                <a:gd name="T17" fmla="*/ 161 h 161"/>
                <a:gd name="T18" fmla="*/ 162 w 269"/>
                <a:gd name="T19" fmla="*/ 131 h 161"/>
                <a:gd name="T20" fmla="*/ 73 w 269"/>
                <a:gd name="T21" fmla="*/ 131 h 161"/>
                <a:gd name="T22" fmla="*/ 58 w 269"/>
                <a:gd name="T23" fmla="*/ 161 h 161"/>
                <a:gd name="T24" fmla="*/ 0 w 269"/>
                <a:gd name="T25" fmla="*/ 161 h 161"/>
                <a:gd name="T26" fmla="*/ 0 w 269"/>
                <a:gd name="T27" fmla="*/ 158 h 161"/>
                <a:gd name="T28" fmla="*/ 97 w 269"/>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61">
                  <a:moveTo>
                    <a:pt x="118" y="45"/>
                  </a:moveTo>
                  <a:lnTo>
                    <a:pt x="85" y="105"/>
                  </a:lnTo>
                  <a:lnTo>
                    <a:pt x="148" y="105"/>
                  </a:lnTo>
                  <a:lnTo>
                    <a:pt x="118" y="45"/>
                  </a:lnTo>
                  <a:close/>
                  <a:moveTo>
                    <a:pt x="97" y="0"/>
                  </a:moveTo>
                  <a:lnTo>
                    <a:pt x="182" y="0"/>
                  </a:lnTo>
                  <a:lnTo>
                    <a:pt x="269" y="158"/>
                  </a:lnTo>
                  <a:lnTo>
                    <a:pt x="269" y="161"/>
                  </a:lnTo>
                  <a:lnTo>
                    <a:pt x="179" y="161"/>
                  </a:lnTo>
                  <a:lnTo>
                    <a:pt x="162" y="131"/>
                  </a:lnTo>
                  <a:lnTo>
                    <a:pt x="73" y="131"/>
                  </a:lnTo>
                  <a:lnTo>
                    <a:pt x="58" y="161"/>
                  </a:lnTo>
                  <a:lnTo>
                    <a:pt x="0" y="161"/>
                  </a:lnTo>
                  <a:lnTo>
                    <a:pt x="0" y="158"/>
                  </a:lnTo>
                  <a:lnTo>
                    <a:pt x="9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21"/>
            <p:cNvSpPr>
              <a:spLocks/>
            </p:cNvSpPr>
            <p:nvPr userDrawn="1"/>
          </p:nvSpPr>
          <p:spPr bwMode="auto">
            <a:xfrm>
              <a:off x="5223866" y="2567583"/>
              <a:ext cx="486401" cy="332906"/>
            </a:xfrm>
            <a:custGeom>
              <a:avLst/>
              <a:gdLst>
                <a:gd name="T0" fmla="*/ 0 w 244"/>
                <a:gd name="T1" fmla="*/ 0 h 167"/>
                <a:gd name="T2" fmla="*/ 83 w 244"/>
                <a:gd name="T3" fmla="*/ 0 h 167"/>
                <a:gd name="T4" fmla="*/ 83 w 244"/>
                <a:gd name="T5" fmla="*/ 6 h 167"/>
                <a:gd name="T6" fmla="*/ 83 w 244"/>
                <a:gd name="T7" fmla="*/ 18 h 167"/>
                <a:gd name="T8" fmla="*/ 83 w 244"/>
                <a:gd name="T9" fmla="*/ 80 h 167"/>
                <a:gd name="T10" fmla="*/ 83 w 244"/>
                <a:gd name="T11" fmla="*/ 96 h 167"/>
                <a:gd name="T12" fmla="*/ 83 w 244"/>
                <a:gd name="T13" fmla="*/ 108 h 167"/>
                <a:gd name="T14" fmla="*/ 85 w 244"/>
                <a:gd name="T15" fmla="*/ 119 h 167"/>
                <a:gd name="T16" fmla="*/ 90 w 244"/>
                <a:gd name="T17" fmla="*/ 128 h 167"/>
                <a:gd name="T18" fmla="*/ 96 w 244"/>
                <a:gd name="T19" fmla="*/ 134 h 167"/>
                <a:gd name="T20" fmla="*/ 106 w 244"/>
                <a:gd name="T21" fmla="*/ 139 h 167"/>
                <a:gd name="T22" fmla="*/ 121 w 244"/>
                <a:gd name="T23" fmla="*/ 140 h 167"/>
                <a:gd name="T24" fmla="*/ 136 w 244"/>
                <a:gd name="T25" fmla="*/ 139 h 167"/>
                <a:gd name="T26" fmla="*/ 148 w 244"/>
                <a:gd name="T27" fmla="*/ 134 h 167"/>
                <a:gd name="T28" fmla="*/ 154 w 244"/>
                <a:gd name="T29" fmla="*/ 128 h 167"/>
                <a:gd name="T30" fmla="*/ 159 w 244"/>
                <a:gd name="T31" fmla="*/ 119 h 167"/>
                <a:gd name="T32" fmla="*/ 161 w 244"/>
                <a:gd name="T33" fmla="*/ 108 h 167"/>
                <a:gd name="T34" fmla="*/ 161 w 244"/>
                <a:gd name="T35" fmla="*/ 96 h 167"/>
                <a:gd name="T36" fmla="*/ 161 w 244"/>
                <a:gd name="T37" fmla="*/ 80 h 167"/>
                <a:gd name="T38" fmla="*/ 161 w 244"/>
                <a:gd name="T39" fmla="*/ 59 h 167"/>
                <a:gd name="T40" fmla="*/ 161 w 244"/>
                <a:gd name="T41" fmla="*/ 0 h 167"/>
                <a:gd name="T42" fmla="*/ 244 w 244"/>
                <a:gd name="T43" fmla="*/ 0 h 167"/>
                <a:gd name="T44" fmla="*/ 244 w 244"/>
                <a:gd name="T45" fmla="*/ 6 h 167"/>
                <a:gd name="T46" fmla="*/ 244 w 244"/>
                <a:gd name="T47" fmla="*/ 20 h 167"/>
                <a:gd name="T48" fmla="*/ 244 w 244"/>
                <a:gd name="T49" fmla="*/ 38 h 167"/>
                <a:gd name="T50" fmla="*/ 244 w 244"/>
                <a:gd name="T51" fmla="*/ 59 h 167"/>
                <a:gd name="T52" fmla="*/ 244 w 244"/>
                <a:gd name="T53" fmla="*/ 78 h 167"/>
                <a:gd name="T54" fmla="*/ 244 w 244"/>
                <a:gd name="T55" fmla="*/ 93 h 167"/>
                <a:gd name="T56" fmla="*/ 241 w 244"/>
                <a:gd name="T57" fmla="*/ 113 h 167"/>
                <a:gd name="T58" fmla="*/ 232 w 244"/>
                <a:gd name="T59" fmla="*/ 129 h 167"/>
                <a:gd name="T60" fmla="*/ 218 w 244"/>
                <a:gd name="T61" fmla="*/ 143 h 167"/>
                <a:gd name="T62" fmla="*/ 198 w 244"/>
                <a:gd name="T63" fmla="*/ 154 h 167"/>
                <a:gd name="T64" fmla="*/ 176 w 244"/>
                <a:gd name="T65" fmla="*/ 161 h 167"/>
                <a:gd name="T66" fmla="*/ 150 w 244"/>
                <a:gd name="T67" fmla="*/ 166 h 167"/>
                <a:gd name="T68" fmla="*/ 121 w 244"/>
                <a:gd name="T69" fmla="*/ 167 h 167"/>
                <a:gd name="T70" fmla="*/ 93 w 244"/>
                <a:gd name="T71" fmla="*/ 166 h 167"/>
                <a:gd name="T72" fmla="*/ 67 w 244"/>
                <a:gd name="T73" fmla="*/ 161 h 167"/>
                <a:gd name="T74" fmla="*/ 44 w 244"/>
                <a:gd name="T75" fmla="*/ 154 h 167"/>
                <a:gd name="T76" fmla="*/ 26 w 244"/>
                <a:gd name="T77" fmla="*/ 143 h 167"/>
                <a:gd name="T78" fmla="*/ 13 w 244"/>
                <a:gd name="T79" fmla="*/ 129 h 167"/>
                <a:gd name="T80" fmla="*/ 3 w 244"/>
                <a:gd name="T81" fmla="*/ 113 h 167"/>
                <a:gd name="T82" fmla="*/ 0 w 244"/>
                <a:gd name="T83" fmla="*/ 93 h 167"/>
                <a:gd name="T84" fmla="*/ 0 w 244"/>
                <a:gd name="T8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167">
                  <a:moveTo>
                    <a:pt x="0" y="0"/>
                  </a:moveTo>
                  <a:lnTo>
                    <a:pt x="83" y="0"/>
                  </a:lnTo>
                  <a:lnTo>
                    <a:pt x="83" y="6"/>
                  </a:lnTo>
                  <a:lnTo>
                    <a:pt x="83" y="18"/>
                  </a:lnTo>
                  <a:lnTo>
                    <a:pt x="83" y="80"/>
                  </a:lnTo>
                  <a:lnTo>
                    <a:pt x="83" y="96"/>
                  </a:lnTo>
                  <a:lnTo>
                    <a:pt x="83" y="108"/>
                  </a:lnTo>
                  <a:lnTo>
                    <a:pt x="85" y="119"/>
                  </a:lnTo>
                  <a:lnTo>
                    <a:pt x="90" y="128"/>
                  </a:lnTo>
                  <a:lnTo>
                    <a:pt x="96" y="134"/>
                  </a:lnTo>
                  <a:lnTo>
                    <a:pt x="106" y="139"/>
                  </a:lnTo>
                  <a:lnTo>
                    <a:pt x="121" y="140"/>
                  </a:lnTo>
                  <a:lnTo>
                    <a:pt x="136" y="139"/>
                  </a:lnTo>
                  <a:lnTo>
                    <a:pt x="148" y="134"/>
                  </a:lnTo>
                  <a:lnTo>
                    <a:pt x="154" y="128"/>
                  </a:lnTo>
                  <a:lnTo>
                    <a:pt x="159" y="119"/>
                  </a:lnTo>
                  <a:lnTo>
                    <a:pt x="161" y="108"/>
                  </a:lnTo>
                  <a:lnTo>
                    <a:pt x="161" y="96"/>
                  </a:lnTo>
                  <a:lnTo>
                    <a:pt x="161" y="80"/>
                  </a:lnTo>
                  <a:lnTo>
                    <a:pt x="161" y="59"/>
                  </a:lnTo>
                  <a:lnTo>
                    <a:pt x="161" y="0"/>
                  </a:lnTo>
                  <a:lnTo>
                    <a:pt x="244" y="0"/>
                  </a:lnTo>
                  <a:lnTo>
                    <a:pt x="244" y="6"/>
                  </a:lnTo>
                  <a:lnTo>
                    <a:pt x="244" y="20"/>
                  </a:lnTo>
                  <a:lnTo>
                    <a:pt x="244" y="38"/>
                  </a:lnTo>
                  <a:lnTo>
                    <a:pt x="244" y="59"/>
                  </a:lnTo>
                  <a:lnTo>
                    <a:pt x="244" y="78"/>
                  </a:lnTo>
                  <a:lnTo>
                    <a:pt x="244" y="93"/>
                  </a:lnTo>
                  <a:lnTo>
                    <a:pt x="241" y="113"/>
                  </a:lnTo>
                  <a:lnTo>
                    <a:pt x="232" y="129"/>
                  </a:lnTo>
                  <a:lnTo>
                    <a:pt x="218" y="143"/>
                  </a:lnTo>
                  <a:lnTo>
                    <a:pt x="198" y="154"/>
                  </a:lnTo>
                  <a:lnTo>
                    <a:pt x="176" y="161"/>
                  </a:lnTo>
                  <a:lnTo>
                    <a:pt x="150" y="166"/>
                  </a:lnTo>
                  <a:lnTo>
                    <a:pt x="121" y="167"/>
                  </a:lnTo>
                  <a:lnTo>
                    <a:pt x="93" y="166"/>
                  </a:lnTo>
                  <a:lnTo>
                    <a:pt x="67" y="161"/>
                  </a:lnTo>
                  <a:lnTo>
                    <a:pt x="44" y="154"/>
                  </a:lnTo>
                  <a:lnTo>
                    <a:pt x="26" y="143"/>
                  </a:lnTo>
                  <a:lnTo>
                    <a:pt x="13" y="129"/>
                  </a:lnTo>
                  <a:lnTo>
                    <a:pt x="3" y="113"/>
                  </a:lnTo>
                  <a:lnTo>
                    <a:pt x="0" y="9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22"/>
            <p:cNvSpPr>
              <a:spLocks/>
            </p:cNvSpPr>
            <p:nvPr userDrawn="1"/>
          </p:nvSpPr>
          <p:spPr bwMode="auto">
            <a:xfrm>
              <a:off x="5795986" y="2557616"/>
              <a:ext cx="466466" cy="340880"/>
            </a:xfrm>
            <a:custGeom>
              <a:avLst/>
              <a:gdLst>
                <a:gd name="T0" fmla="*/ 151 w 234"/>
                <a:gd name="T1" fmla="*/ 2 h 171"/>
                <a:gd name="T2" fmla="*/ 201 w 234"/>
                <a:gd name="T3" fmla="*/ 14 h 171"/>
                <a:gd name="T4" fmla="*/ 191 w 234"/>
                <a:gd name="T5" fmla="*/ 44 h 171"/>
                <a:gd name="T6" fmla="*/ 154 w 234"/>
                <a:gd name="T7" fmla="*/ 31 h 171"/>
                <a:gd name="T8" fmla="*/ 120 w 234"/>
                <a:gd name="T9" fmla="*/ 26 h 171"/>
                <a:gd name="T10" fmla="*/ 93 w 234"/>
                <a:gd name="T11" fmla="*/ 28 h 171"/>
                <a:gd name="T12" fmla="*/ 80 w 234"/>
                <a:gd name="T13" fmla="*/ 38 h 171"/>
                <a:gd name="T14" fmla="*/ 91 w 234"/>
                <a:gd name="T15" fmla="*/ 49 h 171"/>
                <a:gd name="T16" fmla="*/ 124 w 234"/>
                <a:gd name="T17" fmla="*/ 56 h 171"/>
                <a:gd name="T18" fmla="*/ 162 w 234"/>
                <a:gd name="T19" fmla="*/ 64 h 171"/>
                <a:gd name="T20" fmla="*/ 197 w 234"/>
                <a:gd name="T21" fmla="*/ 73 h 171"/>
                <a:gd name="T22" fmla="*/ 224 w 234"/>
                <a:gd name="T23" fmla="*/ 89 h 171"/>
                <a:gd name="T24" fmla="*/ 234 w 234"/>
                <a:gd name="T25" fmla="*/ 115 h 171"/>
                <a:gd name="T26" fmla="*/ 222 w 234"/>
                <a:gd name="T27" fmla="*/ 144 h 171"/>
                <a:gd name="T28" fmla="*/ 188 w 234"/>
                <a:gd name="T29" fmla="*/ 162 h 171"/>
                <a:gd name="T30" fmla="*/ 142 w 234"/>
                <a:gd name="T31" fmla="*/ 169 h 171"/>
                <a:gd name="T32" fmla="*/ 82 w 234"/>
                <a:gd name="T33" fmla="*/ 169 h 171"/>
                <a:gd name="T34" fmla="*/ 31 w 234"/>
                <a:gd name="T35" fmla="*/ 156 h 171"/>
                <a:gd name="T36" fmla="*/ 0 w 234"/>
                <a:gd name="T37" fmla="*/ 139 h 171"/>
                <a:gd name="T38" fmla="*/ 49 w 234"/>
                <a:gd name="T39" fmla="*/ 128 h 171"/>
                <a:gd name="T40" fmla="*/ 93 w 234"/>
                <a:gd name="T41" fmla="*/ 144 h 171"/>
                <a:gd name="T42" fmla="*/ 124 w 234"/>
                <a:gd name="T43" fmla="*/ 145 h 171"/>
                <a:gd name="T44" fmla="*/ 145 w 234"/>
                <a:gd name="T45" fmla="*/ 142 h 171"/>
                <a:gd name="T46" fmla="*/ 157 w 234"/>
                <a:gd name="T47" fmla="*/ 133 h 171"/>
                <a:gd name="T48" fmla="*/ 144 w 234"/>
                <a:gd name="T49" fmla="*/ 121 h 171"/>
                <a:gd name="T50" fmla="*/ 111 w 234"/>
                <a:gd name="T51" fmla="*/ 112 h 171"/>
                <a:gd name="T52" fmla="*/ 76 w 234"/>
                <a:gd name="T53" fmla="*/ 106 h 171"/>
                <a:gd name="T54" fmla="*/ 44 w 234"/>
                <a:gd name="T55" fmla="*/ 97 h 171"/>
                <a:gd name="T56" fmla="*/ 17 w 234"/>
                <a:gd name="T57" fmla="*/ 82 h 171"/>
                <a:gd name="T58" fmla="*/ 6 w 234"/>
                <a:gd name="T59" fmla="*/ 56 h 171"/>
                <a:gd name="T60" fmla="*/ 17 w 234"/>
                <a:gd name="T61" fmla="*/ 29 h 171"/>
                <a:gd name="T62" fmla="*/ 46 w 234"/>
                <a:gd name="T63" fmla="*/ 13 h 171"/>
                <a:gd name="T64" fmla="*/ 82 w 234"/>
                <a:gd name="T65" fmla="*/ 3 h 171"/>
                <a:gd name="T66" fmla="*/ 120 w 234"/>
                <a:gd name="T6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1">
                  <a:moveTo>
                    <a:pt x="120" y="0"/>
                  </a:moveTo>
                  <a:lnTo>
                    <a:pt x="151" y="2"/>
                  </a:lnTo>
                  <a:lnTo>
                    <a:pt x="179" y="6"/>
                  </a:lnTo>
                  <a:lnTo>
                    <a:pt x="201" y="14"/>
                  </a:lnTo>
                  <a:lnTo>
                    <a:pt x="222" y="26"/>
                  </a:lnTo>
                  <a:lnTo>
                    <a:pt x="191" y="44"/>
                  </a:lnTo>
                  <a:lnTo>
                    <a:pt x="174" y="37"/>
                  </a:lnTo>
                  <a:lnTo>
                    <a:pt x="154" y="31"/>
                  </a:lnTo>
                  <a:lnTo>
                    <a:pt x="136" y="26"/>
                  </a:lnTo>
                  <a:lnTo>
                    <a:pt x="120" y="26"/>
                  </a:lnTo>
                  <a:lnTo>
                    <a:pt x="106" y="26"/>
                  </a:lnTo>
                  <a:lnTo>
                    <a:pt x="93" y="28"/>
                  </a:lnTo>
                  <a:lnTo>
                    <a:pt x="83" y="32"/>
                  </a:lnTo>
                  <a:lnTo>
                    <a:pt x="80" y="38"/>
                  </a:lnTo>
                  <a:lnTo>
                    <a:pt x="82" y="44"/>
                  </a:lnTo>
                  <a:lnTo>
                    <a:pt x="91" y="49"/>
                  </a:lnTo>
                  <a:lnTo>
                    <a:pt x="105" y="52"/>
                  </a:lnTo>
                  <a:lnTo>
                    <a:pt x="124" y="56"/>
                  </a:lnTo>
                  <a:lnTo>
                    <a:pt x="145" y="59"/>
                  </a:lnTo>
                  <a:lnTo>
                    <a:pt x="162" y="64"/>
                  </a:lnTo>
                  <a:lnTo>
                    <a:pt x="180" y="68"/>
                  </a:lnTo>
                  <a:lnTo>
                    <a:pt x="197" y="73"/>
                  </a:lnTo>
                  <a:lnTo>
                    <a:pt x="212" y="80"/>
                  </a:lnTo>
                  <a:lnTo>
                    <a:pt x="224" y="89"/>
                  </a:lnTo>
                  <a:lnTo>
                    <a:pt x="231" y="101"/>
                  </a:lnTo>
                  <a:lnTo>
                    <a:pt x="234" y="115"/>
                  </a:lnTo>
                  <a:lnTo>
                    <a:pt x="231" y="131"/>
                  </a:lnTo>
                  <a:lnTo>
                    <a:pt x="222" y="144"/>
                  </a:lnTo>
                  <a:lnTo>
                    <a:pt x="207" y="154"/>
                  </a:lnTo>
                  <a:lnTo>
                    <a:pt x="188" y="162"/>
                  </a:lnTo>
                  <a:lnTo>
                    <a:pt x="167" y="166"/>
                  </a:lnTo>
                  <a:lnTo>
                    <a:pt x="142" y="169"/>
                  </a:lnTo>
                  <a:lnTo>
                    <a:pt x="117" y="171"/>
                  </a:lnTo>
                  <a:lnTo>
                    <a:pt x="82" y="169"/>
                  </a:lnTo>
                  <a:lnTo>
                    <a:pt x="53" y="163"/>
                  </a:lnTo>
                  <a:lnTo>
                    <a:pt x="31" y="156"/>
                  </a:lnTo>
                  <a:lnTo>
                    <a:pt x="12" y="147"/>
                  </a:lnTo>
                  <a:lnTo>
                    <a:pt x="0" y="139"/>
                  </a:lnTo>
                  <a:lnTo>
                    <a:pt x="34" y="119"/>
                  </a:lnTo>
                  <a:lnTo>
                    <a:pt x="49" y="128"/>
                  </a:lnTo>
                  <a:lnTo>
                    <a:pt x="70" y="138"/>
                  </a:lnTo>
                  <a:lnTo>
                    <a:pt x="93" y="144"/>
                  </a:lnTo>
                  <a:lnTo>
                    <a:pt x="117" y="145"/>
                  </a:lnTo>
                  <a:lnTo>
                    <a:pt x="124" y="145"/>
                  </a:lnTo>
                  <a:lnTo>
                    <a:pt x="136" y="144"/>
                  </a:lnTo>
                  <a:lnTo>
                    <a:pt x="145" y="142"/>
                  </a:lnTo>
                  <a:lnTo>
                    <a:pt x="154" y="139"/>
                  </a:lnTo>
                  <a:lnTo>
                    <a:pt x="157" y="133"/>
                  </a:lnTo>
                  <a:lnTo>
                    <a:pt x="153" y="125"/>
                  </a:lnTo>
                  <a:lnTo>
                    <a:pt x="144" y="121"/>
                  </a:lnTo>
                  <a:lnTo>
                    <a:pt x="129" y="116"/>
                  </a:lnTo>
                  <a:lnTo>
                    <a:pt x="111" y="112"/>
                  </a:lnTo>
                  <a:lnTo>
                    <a:pt x="91" y="109"/>
                  </a:lnTo>
                  <a:lnTo>
                    <a:pt x="76" y="106"/>
                  </a:lnTo>
                  <a:lnTo>
                    <a:pt x="61" y="101"/>
                  </a:lnTo>
                  <a:lnTo>
                    <a:pt x="44" y="97"/>
                  </a:lnTo>
                  <a:lnTo>
                    <a:pt x="29" y="91"/>
                  </a:lnTo>
                  <a:lnTo>
                    <a:pt x="17" y="82"/>
                  </a:lnTo>
                  <a:lnTo>
                    <a:pt x="9" y="71"/>
                  </a:lnTo>
                  <a:lnTo>
                    <a:pt x="6" y="56"/>
                  </a:lnTo>
                  <a:lnTo>
                    <a:pt x="9" y="41"/>
                  </a:lnTo>
                  <a:lnTo>
                    <a:pt x="17" y="29"/>
                  </a:lnTo>
                  <a:lnTo>
                    <a:pt x="29" y="19"/>
                  </a:lnTo>
                  <a:lnTo>
                    <a:pt x="46" y="13"/>
                  </a:lnTo>
                  <a:lnTo>
                    <a:pt x="64" y="6"/>
                  </a:lnTo>
                  <a:lnTo>
                    <a:pt x="82" y="3"/>
                  </a:lnTo>
                  <a:lnTo>
                    <a:pt x="102" y="0"/>
                  </a:lnTo>
                  <a:lnTo>
                    <a:pt x="12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23"/>
            <p:cNvSpPr>
              <a:spLocks/>
            </p:cNvSpPr>
            <p:nvPr userDrawn="1"/>
          </p:nvSpPr>
          <p:spPr bwMode="auto">
            <a:xfrm>
              <a:off x="6302321" y="2567583"/>
              <a:ext cx="442545" cy="320945"/>
            </a:xfrm>
            <a:custGeom>
              <a:avLst/>
              <a:gdLst>
                <a:gd name="T0" fmla="*/ 15 w 222"/>
                <a:gd name="T1" fmla="*/ 0 h 161"/>
                <a:gd name="T2" fmla="*/ 207 w 222"/>
                <a:gd name="T3" fmla="*/ 0 h 161"/>
                <a:gd name="T4" fmla="*/ 222 w 222"/>
                <a:gd name="T5" fmla="*/ 24 h 161"/>
                <a:gd name="T6" fmla="*/ 222 w 222"/>
                <a:gd name="T7" fmla="*/ 27 h 161"/>
                <a:gd name="T8" fmla="*/ 153 w 222"/>
                <a:gd name="T9" fmla="*/ 27 h 161"/>
                <a:gd name="T10" fmla="*/ 153 w 222"/>
                <a:gd name="T11" fmla="*/ 161 h 161"/>
                <a:gd name="T12" fmla="*/ 68 w 222"/>
                <a:gd name="T13" fmla="*/ 161 h 161"/>
                <a:gd name="T14" fmla="*/ 68 w 222"/>
                <a:gd name="T15" fmla="*/ 27 h 161"/>
                <a:gd name="T16" fmla="*/ 0 w 222"/>
                <a:gd name="T17" fmla="*/ 27 h 161"/>
                <a:gd name="T18" fmla="*/ 0 w 222"/>
                <a:gd name="T19" fmla="*/ 24 h 161"/>
                <a:gd name="T20" fmla="*/ 15 w 222"/>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1">
                  <a:moveTo>
                    <a:pt x="15" y="0"/>
                  </a:moveTo>
                  <a:lnTo>
                    <a:pt x="207" y="0"/>
                  </a:lnTo>
                  <a:lnTo>
                    <a:pt x="222" y="24"/>
                  </a:lnTo>
                  <a:lnTo>
                    <a:pt x="222" y="27"/>
                  </a:lnTo>
                  <a:lnTo>
                    <a:pt x="153" y="27"/>
                  </a:lnTo>
                  <a:lnTo>
                    <a:pt x="153" y="161"/>
                  </a:lnTo>
                  <a:lnTo>
                    <a:pt x="68" y="161"/>
                  </a:lnTo>
                  <a:lnTo>
                    <a:pt x="68" y="27"/>
                  </a:lnTo>
                  <a:lnTo>
                    <a:pt x="0" y="27"/>
                  </a:lnTo>
                  <a:lnTo>
                    <a:pt x="0" y="24"/>
                  </a:lnTo>
                  <a:lnTo>
                    <a:pt x="15"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Rectangle 24"/>
            <p:cNvSpPr>
              <a:spLocks noChangeArrowheads="1"/>
            </p:cNvSpPr>
            <p:nvPr userDrawn="1"/>
          </p:nvSpPr>
          <p:spPr bwMode="auto">
            <a:xfrm>
              <a:off x="6828590" y="2567583"/>
              <a:ext cx="165457" cy="320945"/>
            </a:xfrm>
            <a:prstGeom prst="rect">
              <a:avLst/>
            </a:prstGeom>
            <a:solidFill>
              <a:srgbClr val="231F2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5"/>
            <p:cNvSpPr>
              <a:spLocks/>
            </p:cNvSpPr>
            <p:nvPr userDrawn="1"/>
          </p:nvSpPr>
          <p:spPr bwMode="auto">
            <a:xfrm>
              <a:off x="7111659" y="2567583"/>
              <a:ext cx="500355" cy="320945"/>
            </a:xfrm>
            <a:custGeom>
              <a:avLst/>
              <a:gdLst>
                <a:gd name="T0" fmla="*/ 0 w 251"/>
                <a:gd name="T1" fmla="*/ 0 h 161"/>
                <a:gd name="T2" fmla="*/ 47 w 251"/>
                <a:gd name="T3" fmla="*/ 0 h 161"/>
                <a:gd name="T4" fmla="*/ 198 w 251"/>
                <a:gd name="T5" fmla="*/ 86 h 161"/>
                <a:gd name="T6" fmla="*/ 198 w 251"/>
                <a:gd name="T7" fmla="*/ 0 h 161"/>
                <a:gd name="T8" fmla="*/ 251 w 251"/>
                <a:gd name="T9" fmla="*/ 0 h 161"/>
                <a:gd name="T10" fmla="*/ 251 w 251"/>
                <a:gd name="T11" fmla="*/ 161 h 161"/>
                <a:gd name="T12" fmla="*/ 200 w 251"/>
                <a:gd name="T13" fmla="*/ 161 h 161"/>
                <a:gd name="T14" fmla="*/ 53 w 251"/>
                <a:gd name="T15" fmla="*/ 78 h 161"/>
                <a:gd name="T16" fmla="*/ 53 w 251"/>
                <a:gd name="T17" fmla="*/ 161 h 161"/>
                <a:gd name="T18" fmla="*/ 0 w 251"/>
                <a:gd name="T19" fmla="*/ 161 h 161"/>
                <a:gd name="T20" fmla="*/ 0 w 251"/>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1">
                  <a:moveTo>
                    <a:pt x="0" y="0"/>
                  </a:moveTo>
                  <a:lnTo>
                    <a:pt x="47" y="0"/>
                  </a:lnTo>
                  <a:lnTo>
                    <a:pt x="198" y="86"/>
                  </a:lnTo>
                  <a:lnTo>
                    <a:pt x="198" y="0"/>
                  </a:lnTo>
                  <a:lnTo>
                    <a:pt x="251" y="0"/>
                  </a:lnTo>
                  <a:lnTo>
                    <a:pt x="251" y="161"/>
                  </a:lnTo>
                  <a:lnTo>
                    <a:pt x="200" y="161"/>
                  </a:lnTo>
                  <a:lnTo>
                    <a:pt x="53" y="78"/>
                  </a:lnTo>
                  <a:lnTo>
                    <a:pt x="53" y="161"/>
                  </a:lnTo>
                  <a:lnTo>
                    <a:pt x="0" y="161"/>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6"/>
            <p:cNvSpPr>
              <a:spLocks noEditPoints="1"/>
            </p:cNvSpPr>
            <p:nvPr userDrawn="1"/>
          </p:nvSpPr>
          <p:spPr bwMode="auto">
            <a:xfrm>
              <a:off x="4619853" y="2539675"/>
              <a:ext cx="532250" cy="318951"/>
            </a:xfrm>
            <a:custGeom>
              <a:avLst/>
              <a:gdLst>
                <a:gd name="T0" fmla="*/ 118 w 267"/>
                <a:gd name="T1" fmla="*/ 46 h 160"/>
                <a:gd name="T2" fmla="*/ 84 w 267"/>
                <a:gd name="T3" fmla="*/ 106 h 160"/>
                <a:gd name="T4" fmla="*/ 148 w 267"/>
                <a:gd name="T5" fmla="*/ 106 h 160"/>
                <a:gd name="T6" fmla="*/ 118 w 267"/>
                <a:gd name="T7" fmla="*/ 46 h 160"/>
                <a:gd name="T8" fmla="*/ 95 w 267"/>
                <a:gd name="T9" fmla="*/ 0 h 160"/>
                <a:gd name="T10" fmla="*/ 180 w 267"/>
                <a:gd name="T11" fmla="*/ 0 h 160"/>
                <a:gd name="T12" fmla="*/ 267 w 267"/>
                <a:gd name="T13" fmla="*/ 159 h 160"/>
                <a:gd name="T14" fmla="*/ 267 w 267"/>
                <a:gd name="T15" fmla="*/ 160 h 160"/>
                <a:gd name="T16" fmla="*/ 177 w 267"/>
                <a:gd name="T17" fmla="*/ 160 h 160"/>
                <a:gd name="T18" fmla="*/ 161 w 267"/>
                <a:gd name="T19" fmla="*/ 131 h 160"/>
                <a:gd name="T20" fmla="*/ 72 w 267"/>
                <a:gd name="T21" fmla="*/ 131 h 160"/>
                <a:gd name="T22" fmla="*/ 57 w 267"/>
                <a:gd name="T23" fmla="*/ 160 h 160"/>
                <a:gd name="T24" fmla="*/ 0 w 267"/>
                <a:gd name="T25" fmla="*/ 160 h 160"/>
                <a:gd name="T26" fmla="*/ 0 w 267"/>
                <a:gd name="T27" fmla="*/ 159 h 160"/>
                <a:gd name="T28" fmla="*/ 95 w 267"/>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160">
                  <a:moveTo>
                    <a:pt x="118" y="46"/>
                  </a:moveTo>
                  <a:lnTo>
                    <a:pt x="84" y="106"/>
                  </a:lnTo>
                  <a:lnTo>
                    <a:pt x="148" y="106"/>
                  </a:lnTo>
                  <a:lnTo>
                    <a:pt x="118" y="46"/>
                  </a:lnTo>
                  <a:close/>
                  <a:moveTo>
                    <a:pt x="95" y="0"/>
                  </a:moveTo>
                  <a:lnTo>
                    <a:pt x="180" y="0"/>
                  </a:lnTo>
                  <a:lnTo>
                    <a:pt x="267" y="159"/>
                  </a:lnTo>
                  <a:lnTo>
                    <a:pt x="267" y="160"/>
                  </a:lnTo>
                  <a:lnTo>
                    <a:pt x="177" y="160"/>
                  </a:lnTo>
                  <a:lnTo>
                    <a:pt x="161" y="131"/>
                  </a:lnTo>
                  <a:lnTo>
                    <a:pt x="72" y="131"/>
                  </a:lnTo>
                  <a:lnTo>
                    <a:pt x="57" y="160"/>
                  </a:lnTo>
                  <a:lnTo>
                    <a:pt x="0" y="160"/>
                  </a:lnTo>
                  <a:lnTo>
                    <a:pt x="0" y="159"/>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27"/>
            <p:cNvSpPr>
              <a:spLocks/>
            </p:cNvSpPr>
            <p:nvPr userDrawn="1"/>
          </p:nvSpPr>
          <p:spPr bwMode="auto">
            <a:xfrm>
              <a:off x="5197952" y="2539675"/>
              <a:ext cx="484408" cy="334899"/>
            </a:xfrm>
            <a:custGeom>
              <a:avLst/>
              <a:gdLst>
                <a:gd name="T0" fmla="*/ 0 w 243"/>
                <a:gd name="T1" fmla="*/ 0 h 168"/>
                <a:gd name="T2" fmla="*/ 83 w 243"/>
                <a:gd name="T3" fmla="*/ 0 h 168"/>
                <a:gd name="T4" fmla="*/ 83 w 243"/>
                <a:gd name="T5" fmla="*/ 6 h 168"/>
                <a:gd name="T6" fmla="*/ 83 w 243"/>
                <a:gd name="T7" fmla="*/ 19 h 168"/>
                <a:gd name="T8" fmla="*/ 83 w 243"/>
                <a:gd name="T9" fmla="*/ 59 h 168"/>
                <a:gd name="T10" fmla="*/ 83 w 243"/>
                <a:gd name="T11" fmla="*/ 80 h 168"/>
                <a:gd name="T12" fmla="*/ 83 w 243"/>
                <a:gd name="T13" fmla="*/ 109 h 168"/>
                <a:gd name="T14" fmla="*/ 84 w 243"/>
                <a:gd name="T15" fmla="*/ 119 h 168"/>
                <a:gd name="T16" fmla="*/ 87 w 243"/>
                <a:gd name="T17" fmla="*/ 127 h 168"/>
                <a:gd name="T18" fmla="*/ 95 w 243"/>
                <a:gd name="T19" fmla="*/ 134 h 168"/>
                <a:gd name="T20" fmla="*/ 106 w 243"/>
                <a:gd name="T21" fmla="*/ 139 h 168"/>
                <a:gd name="T22" fmla="*/ 121 w 243"/>
                <a:gd name="T23" fmla="*/ 140 h 168"/>
                <a:gd name="T24" fmla="*/ 136 w 243"/>
                <a:gd name="T25" fmla="*/ 139 h 168"/>
                <a:gd name="T26" fmla="*/ 148 w 243"/>
                <a:gd name="T27" fmla="*/ 134 h 168"/>
                <a:gd name="T28" fmla="*/ 154 w 243"/>
                <a:gd name="T29" fmla="*/ 127 h 168"/>
                <a:gd name="T30" fmla="*/ 158 w 243"/>
                <a:gd name="T31" fmla="*/ 119 h 168"/>
                <a:gd name="T32" fmla="*/ 160 w 243"/>
                <a:gd name="T33" fmla="*/ 109 h 168"/>
                <a:gd name="T34" fmla="*/ 160 w 243"/>
                <a:gd name="T35" fmla="*/ 59 h 168"/>
                <a:gd name="T36" fmla="*/ 160 w 243"/>
                <a:gd name="T37" fmla="*/ 38 h 168"/>
                <a:gd name="T38" fmla="*/ 160 w 243"/>
                <a:gd name="T39" fmla="*/ 6 h 168"/>
                <a:gd name="T40" fmla="*/ 160 w 243"/>
                <a:gd name="T41" fmla="*/ 0 h 168"/>
                <a:gd name="T42" fmla="*/ 243 w 243"/>
                <a:gd name="T43" fmla="*/ 0 h 168"/>
                <a:gd name="T44" fmla="*/ 243 w 243"/>
                <a:gd name="T45" fmla="*/ 6 h 168"/>
                <a:gd name="T46" fmla="*/ 243 w 243"/>
                <a:gd name="T47" fmla="*/ 20 h 168"/>
                <a:gd name="T48" fmla="*/ 243 w 243"/>
                <a:gd name="T49" fmla="*/ 38 h 168"/>
                <a:gd name="T50" fmla="*/ 243 w 243"/>
                <a:gd name="T51" fmla="*/ 59 h 168"/>
                <a:gd name="T52" fmla="*/ 243 w 243"/>
                <a:gd name="T53" fmla="*/ 79 h 168"/>
                <a:gd name="T54" fmla="*/ 243 w 243"/>
                <a:gd name="T55" fmla="*/ 94 h 168"/>
                <a:gd name="T56" fmla="*/ 240 w 243"/>
                <a:gd name="T57" fmla="*/ 113 h 168"/>
                <a:gd name="T58" fmla="*/ 231 w 243"/>
                <a:gd name="T59" fmla="*/ 130 h 168"/>
                <a:gd name="T60" fmla="*/ 217 w 243"/>
                <a:gd name="T61" fmla="*/ 143 h 168"/>
                <a:gd name="T62" fmla="*/ 198 w 243"/>
                <a:gd name="T63" fmla="*/ 154 h 168"/>
                <a:gd name="T64" fmla="*/ 175 w 243"/>
                <a:gd name="T65" fmla="*/ 162 h 168"/>
                <a:gd name="T66" fmla="*/ 149 w 243"/>
                <a:gd name="T67" fmla="*/ 166 h 168"/>
                <a:gd name="T68" fmla="*/ 121 w 243"/>
                <a:gd name="T69" fmla="*/ 168 h 168"/>
                <a:gd name="T70" fmla="*/ 92 w 243"/>
                <a:gd name="T71" fmla="*/ 166 h 168"/>
                <a:gd name="T72" fmla="*/ 66 w 243"/>
                <a:gd name="T73" fmla="*/ 162 h 168"/>
                <a:gd name="T74" fmla="*/ 44 w 243"/>
                <a:gd name="T75" fmla="*/ 154 h 168"/>
                <a:gd name="T76" fmla="*/ 26 w 243"/>
                <a:gd name="T77" fmla="*/ 143 h 168"/>
                <a:gd name="T78" fmla="*/ 12 w 243"/>
                <a:gd name="T79" fmla="*/ 130 h 168"/>
                <a:gd name="T80" fmla="*/ 3 w 243"/>
                <a:gd name="T81" fmla="*/ 113 h 168"/>
                <a:gd name="T82" fmla="*/ 0 w 243"/>
                <a:gd name="T83" fmla="*/ 94 h 168"/>
                <a:gd name="T84" fmla="*/ 0 w 243"/>
                <a:gd name="T8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168">
                  <a:moveTo>
                    <a:pt x="0" y="0"/>
                  </a:moveTo>
                  <a:lnTo>
                    <a:pt x="83" y="0"/>
                  </a:lnTo>
                  <a:lnTo>
                    <a:pt x="83" y="6"/>
                  </a:lnTo>
                  <a:lnTo>
                    <a:pt x="83" y="19"/>
                  </a:lnTo>
                  <a:lnTo>
                    <a:pt x="83" y="59"/>
                  </a:lnTo>
                  <a:lnTo>
                    <a:pt x="83" y="80"/>
                  </a:lnTo>
                  <a:lnTo>
                    <a:pt x="83" y="109"/>
                  </a:lnTo>
                  <a:lnTo>
                    <a:pt x="84" y="119"/>
                  </a:lnTo>
                  <a:lnTo>
                    <a:pt x="87" y="127"/>
                  </a:lnTo>
                  <a:lnTo>
                    <a:pt x="95" y="134"/>
                  </a:lnTo>
                  <a:lnTo>
                    <a:pt x="106" y="139"/>
                  </a:lnTo>
                  <a:lnTo>
                    <a:pt x="121" y="140"/>
                  </a:lnTo>
                  <a:lnTo>
                    <a:pt x="136" y="139"/>
                  </a:lnTo>
                  <a:lnTo>
                    <a:pt x="148" y="134"/>
                  </a:lnTo>
                  <a:lnTo>
                    <a:pt x="154" y="127"/>
                  </a:lnTo>
                  <a:lnTo>
                    <a:pt x="158" y="119"/>
                  </a:lnTo>
                  <a:lnTo>
                    <a:pt x="160" y="109"/>
                  </a:lnTo>
                  <a:lnTo>
                    <a:pt x="160" y="59"/>
                  </a:lnTo>
                  <a:lnTo>
                    <a:pt x="160" y="38"/>
                  </a:lnTo>
                  <a:lnTo>
                    <a:pt x="160" y="6"/>
                  </a:lnTo>
                  <a:lnTo>
                    <a:pt x="160" y="0"/>
                  </a:lnTo>
                  <a:lnTo>
                    <a:pt x="243" y="0"/>
                  </a:lnTo>
                  <a:lnTo>
                    <a:pt x="243" y="6"/>
                  </a:lnTo>
                  <a:lnTo>
                    <a:pt x="243" y="20"/>
                  </a:lnTo>
                  <a:lnTo>
                    <a:pt x="243" y="38"/>
                  </a:lnTo>
                  <a:lnTo>
                    <a:pt x="243" y="59"/>
                  </a:lnTo>
                  <a:lnTo>
                    <a:pt x="243" y="79"/>
                  </a:lnTo>
                  <a:lnTo>
                    <a:pt x="243" y="94"/>
                  </a:lnTo>
                  <a:lnTo>
                    <a:pt x="240" y="113"/>
                  </a:lnTo>
                  <a:lnTo>
                    <a:pt x="231" y="130"/>
                  </a:lnTo>
                  <a:lnTo>
                    <a:pt x="217" y="143"/>
                  </a:lnTo>
                  <a:lnTo>
                    <a:pt x="198" y="154"/>
                  </a:lnTo>
                  <a:lnTo>
                    <a:pt x="175" y="162"/>
                  </a:lnTo>
                  <a:lnTo>
                    <a:pt x="149" y="166"/>
                  </a:lnTo>
                  <a:lnTo>
                    <a:pt x="121" y="168"/>
                  </a:lnTo>
                  <a:lnTo>
                    <a:pt x="92" y="166"/>
                  </a:lnTo>
                  <a:lnTo>
                    <a:pt x="66" y="162"/>
                  </a:lnTo>
                  <a:lnTo>
                    <a:pt x="44" y="154"/>
                  </a:lnTo>
                  <a:lnTo>
                    <a:pt x="26" y="143"/>
                  </a:lnTo>
                  <a:lnTo>
                    <a:pt x="12" y="130"/>
                  </a:lnTo>
                  <a:lnTo>
                    <a:pt x="3" y="113"/>
                  </a:lnTo>
                  <a:lnTo>
                    <a:pt x="0" y="9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28"/>
            <p:cNvSpPr>
              <a:spLocks/>
            </p:cNvSpPr>
            <p:nvPr userDrawn="1"/>
          </p:nvSpPr>
          <p:spPr bwMode="auto">
            <a:xfrm>
              <a:off x="5770070" y="2531701"/>
              <a:ext cx="466466" cy="338885"/>
            </a:xfrm>
            <a:custGeom>
              <a:avLst/>
              <a:gdLst>
                <a:gd name="T0" fmla="*/ 149 w 234"/>
                <a:gd name="T1" fmla="*/ 1 h 170"/>
                <a:gd name="T2" fmla="*/ 201 w 234"/>
                <a:gd name="T3" fmla="*/ 13 h 170"/>
                <a:gd name="T4" fmla="*/ 190 w 234"/>
                <a:gd name="T5" fmla="*/ 44 h 170"/>
                <a:gd name="T6" fmla="*/ 154 w 234"/>
                <a:gd name="T7" fmla="*/ 30 h 170"/>
                <a:gd name="T8" fmla="*/ 119 w 234"/>
                <a:gd name="T9" fmla="*/ 26 h 170"/>
                <a:gd name="T10" fmla="*/ 92 w 234"/>
                <a:gd name="T11" fmla="*/ 27 h 170"/>
                <a:gd name="T12" fmla="*/ 78 w 234"/>
                <a:gd name="T13" fmla="*/ 38 h 170"/>
                <a:gd name="T14" fmla="*/ 90 w 234"/>
                <a:gd name="T15" fmla="*/ 48 h 170"/>
                <a:gd name="T16" fmla="*/ 122 w 234"/>
                <a:gd name="T17" fmla="*/ 56 h 170"/>
                <a:gd name="T18" fmla="*/ 161 w 234"/>
                <a:gd name="T19" fmla="*/ 63 h 170"/>
                <a:gd name="T20" fmla="*/ 196 w 234"/>
                <a:gd name="T21" fmla="*/ 72 h 170"/>
                <a:gd name="T22" fmla="*/ 223 w 234"/>
                <a:gd name="T23" fmla="*/ 89 h 170"/>
                <a:gd name="T24" fmla="*/ 234 w 234"/>
                <a:gd name="T25" fmla="*/ 114 h 170"/>
                <a:gd name="T26" fmla="*/ 222 w 234"/>
                <a:gd name="T27" fmla="*/ 143 h 170"/>
                <a:gd name="T28" fmla="*/ 187 w 234"/>
                <a:gd name="T29" fmla="*/ 161 h 170"/>
                <a:gd name="T30" fmla="*/ 140 w 234"/>
                <a:gd name="T31" fmla="*/ 169 h 170"/>
                <a:gd name="T32" fmla="*/ 81 w 234"/>
                <a:gd name="T33" fmla="*/ 169 h 170"/>
                <a:gd name="T34" fmla="*/ 30 w 234"/>
                <a:gd name="T35" fmla="*/ 155 h 170"/>
                <a:gd name="T36" fmla="*/ 0 w 234"/>
                <a:gd name="T37" fmla="*/ 138 h 170"/>
                <a:gd name="T38" fmla="*/ 48 w 234"/>
                <a:gd name="T39" fmla="*/ 128 h 170"/>
                <a:gd name="T40" fmla="*/ 92 w 234"/>
                <a:gd name="T41" fmla="*/ 141 h 170"/>
                <a:gd name="T42" fmla="*/ 124 w 234"/>
                <a:gd name="T43" fmla="*/ 144 h 170"/>
                <a:gd name="T44" fmla="*/ 145 w 234"/>
                <a:gd name="T45" fmla="*/ 141 h 170"/>
                <a:gd name="T46" fmla="*/ 155 w 234"/>
                <a:gd name="T47" fmla="*/ 132 h 170"/>
                <a:gd name="T48" fmla="*/ 142 w 234"/>
                <a:gd name="T49" fmla="*/ 120 h 170"/>
                <a:gd name="T50" fmla="*/ 110 w 234"/>
                <a:gd name="T51" fmla="*/ 111 h 170"/>
                <a:gd name="T52" fmla="*/ 75 w 234"/>
                <a:gd name="T53" fmla="*/ 105 h 170"/>
                <a:gd name="T54" fmla="*/ 44 w 234"/>
                <a:gd name="T55" fmla="*/ 96 h 170"/>
                <a:gd name="T56" fmla="*/ 16 w 234"/>
                <a:gd name="T57" fmla="*/ 81 h 170"/>
                <a:gd name="T58" fmla="*/ 4 w 234"/>
                <a:gd name="T59" fmla="*/ 56 h 170"/>
                <a:gd name="T60" fmla="*/ 16 w 234"/>
                <a:gd name="T61" fmla="*/ 29 h 170"/>
                <a:gd name="T62" fmla="*/ 45 w 234"/>
                <a:gd name="T63" fmla="*/ 10 h 170"/>
                <a:gd name="T64" fmla="*/ 81 w 234"/>
                <a:gd name="T65" fmla="*/ 3 h 170"/>
                <a:gd name="T66" fmla="*/ 118 w 234"/>
                <a:gd name="T6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0">
                  <a:moveTo>
                    <a:pt x="118" y="0"/>
                  </a:moveTo>
                  <a:lnTo>
                    <a:pt x="149" y="1"/>
                  </a:lnTo>
                  <a:lnTo>
                    <a:pt x="176" y="6"/>
                  </a:lnTo>
                  <a:lnTo>
                    <a:pt x="201" y="13"/>
                  </a:lnTo>
                  <a:lnTo>
                    <a:pt x="222" y="26"/>
                  </a:lnTo>
                  <a:lnTo>
                    <a:pt x="190" y="44"/>
                  </a:lnTo>
                  <a:lnTo>
                    <a:pt x="173" y="36"/>
                  </a:lnTo>
                  <a:lnTo>
                    <a:pt x="154" y="30"/>
                  </a:lnTo>
                  <a:lnTo>
                    <a:pt x="136" y="26"/>
                  </a:lnTo>
                  <a:lnTo>
                    <a:pt x="119" y="26"/>
                  </a:lnTo>
                  <a:lnTo>
                    <a:pt x="106" y="26"/>
                  </a:lnTo>
                  <a:lnTo>
                    <a:pt x="92" y="27"/>
                  </a:lnTo>
                  <a:lnTo>
                    <a:pt x="83" y="32"/>
                  </a:lnTo>
                  <a:lnTo>
                    <a:pt x="78" y="38"/>
                  </a:lnTo>
                  <a:lnTo>
                    <a:pt x="81" y="44"/>
                  </a:lnTo>
                  <a:lnTo>
                    <a:pt x="90" y="48"/>
                  </a:lnTo>
                  <a:lnTo>
                    <a:pt x="104" y="51"/>
                  </a:lnTo>
                  <a:lnTo>
                    <a:pt x="122" y="56"/>
                  </a:lnTo>
                  <a:lnTo>
                    <a:pt x="145" y="59"/>
                  </a:lnTo>
                  <a:lnTo>
                    <a:pt x="161" y="63"/>
                  </a:lnTo>
                  <a:lnTo>
                    <a:pt x="180" y="68"/>
                  </a:lnTo>
                  <a:lnTo>
                    <a:pt x="196" y="72"/>
                  </a:lnTo>
                  <a:lnTo>
                    <a:pt x="211" y="80"/>
                  </a:lnTo>
                  <a:lnTo>
                    <a:pt x="223" y="89"/>
                  </a:lnTo>
                  <a:lnTo>
                    <a:pt x="231" y="101"/>
                  </a:lnTo>
                  <a:lnTo>
                    <a:pt x="234" y="114"/>
                  </a:lnTo>
                  <a:lnTo>
                    <a:pt x="231" y="129"/>
                  </a:lnTo>
                  <a:lnTo>
                    <a:pt x="222" y="143"/>
                  </a:lnTo>
                  <a:lnTo>
                    <a:pt x="207" y="154"/>
                  </a:lnTo>
                  <a:lnTo>
                    <a:pt x="187" y="161"/>
                  </a:lnTo>
                  <a:lnTo>
                    <a:pt x="166" y="166"/>
                  </a:lnTo>
                  <a:lnTo>
                    <a:pt x="140" y="169"/>
                  </a:lnTo>
                  <a:lnTo>
                    <a:pt x="115" y="170"/>
                  </a:lnTo>
                  <a:lnTo>
                    <a:pt x="81" y="169"/>
                  </a:lnTo>
                  <a:lnTo>
                    <a:pt x="53" y="163"/>
                  </a:lnTo>
                  <a:lnTo>
                    <a:pt x="30" y="155"/>
                  </a:lnTo>
                  <a:lnTo>
                    <a:pt x="12" y="146"/>
                  </a:lnTo>
                  <a:lnTo>
                    <a:pt x="0" y="138"/>
                  </a:lnTo>
                  <a:lnTo>
                    <a:pt x="33" y="119"/>
                  </a:lnTo>
                  <a:lnTo>
                    <a:pt x="48" y="128"/>
                  </a:lnTo>
                  <a:lnTo>
                    <a:pt x="69" y="135"/>
                  </a:lnTo>
                  <a:lnTo>
                    <a:pt x="92" y="141"/>
                  </a:lnTo>
                  <a:lnTo>
                    <a:pt x="115" y="144"/>
                  </a:lnTo>
                  <a:lnTo>
                    <a:pt x="124" y="144"/>
                  </a:lnTo>
                  <a:lnTo>
                    <a:pt x="134" y="143"/>
                  </a:lnTo>
                  <a:lnTo>
                    <a:pt x="145" y="141"/>
                  </a:lnTo>
                  <a:lnTo>
                    <a:pt x="152" y="138"/>
                  </a:lnTo>
                  <a:lnTo>
                    <a:pt x="155" y="132"/>
                  </a:lnTo>
                  <a:lnTo>
                    <a:pt x="152" y="125"/>
                  </a:lnTo>
                  <a:lnTo>
                    <a:pt x="142" y="120"/>
                  </a:lnTo>
                  <a:lnTo>
                    <a:pt x="128" y="116"/>
                  </a:lnTo>
                  <a:lnTo>
                    <a:pt x="110" y="111"/>
                  </a:lnTo>
                  <a:lnTo>
                    <a:pt x="90" y="108"/>
                  </a:lnTo>
                  <a:lnTo>
                    <a:pt x="75" y="105"/>
                  </a:lnTo>
                  <a:lnTo>
                    <a:pt x="60" y="101"/>
                  </a:lnTo>
                  <a:lnTo>
                    <a:pt x="44" y="96"/>
                  </a:lnTo>
                  <a:lnTo>
                    <a:pt x="28" y="90"/>
                  </a:lnTo>
                  <a:lnTo>
                    <a:pt x="16" y="81"/>
                  </a:lnTo>
                  <a:lnTo>
                    <a:pt x="9" y="69"/>
                  </a:lnTo>
                  <a:lnTo>
                    <a:pt x="4" y="56"/>
                  </a:lnTo>
                  <a:lnTo>
                    <a:pt x="7" y="41"/>
                  </a:lnTo>
                  <a:lnTo>
                    <a:pt x="16" y="29"/>
                  </a:lnTo>
                  <a:lnTo>
                    <a:pt x="28" y="18"/>
                  </a:lnTo>
                  <a:lnTo>
                    <a:pt x="45" y="10"/>
                  </a:lnTo>
                  <a:lnTo>
                    <a:pt x="62" y="6"/>
                  </a:lnTo>
                  <a:lnTo>
                    <a:pt x="81" y="3"/>
                  </a:lnTo>
                  <a:lnTo>
                    <a:pt x="101" y="0"/>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9"/>
            <p:cNvSpPr>
              <a:spLocks/>
            </p:cNvSpPr>
            <p:nvPr userDrawn="1"/>
          </p:nvSpPr>
          <p:spPr bwMode="auto">
            <a:xfrm>
              <a:off x="6272418" y="2539675"/>
              <a:ext cx="446532" cy="318951"/>
            </a:xfrm>
            <a:custGeom>
              <a:avLst/>
              <a:gdLst>
                <a:gd name="T0" fmla="*/ 17 w 224"/>
                <a:gd name="T1" fmla="*/ 0 h 160"/>
                <a:gd name="T2" fmla="*/ 208 w 224"/>
                <a:gd name="T3" fmla="*/ 0 h 160"/>
                <a:gd name="T4" fmla="*/ 224 w 224"/>
                <a:gd name="T5" fmla="*/ 25 h 160"/>
                <a:gd name="T6" fmla="*/ 224 w 224"/>
                <a:gd name="T7" fmla="*/ 28 h 160"/>
                <a:gd name="T8" fmla="*/ 154 w 224"/>
                <a:gd name="T9" fmla="*/ 28 h 160"/>
                <a:gd name="T10" fmla="*/ 154 w 224"/>
                <a:gd name="T11" fmla="*/ 160 h 160"/>
                <a:gd name="T12" fmla="*/ 69 w 224"/>
                <a:gd name="T13" fmla="*/ 160 h 160"/>
                <a:gd name="T14" fmla="*/ 69 w 224"/>
                <a:gd name="T15" fmla="*/ 28 h 160"/>
                <a:gd name="T16" fmla="*/ 0 w 224"/>
                <a:gd name="T17" fmla="*/ 28 h 160"/>
                <a:gd name="T18" fmla="*/ 0 w 224"/>
                <a:gd name="T19" fmla="*/ 25 h 160"/>
                <a:gd name="T20" fmla="*/ 17 w 224"/>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60">
                  <a:moveTo>
                    <a:pt x="17" y="0"/>
                  </a:moveTo>
                  <a:lnTo>
                    <a:pt x="208" y="0"/>
                  </a:lnTo>
                  <a:lnTo>
                    <a:pt x="224" y="25"/>
                  </a:lnTo>
                  <a:lnTo>
                    <a:pt x="224" y="28"/>
                  </a:lnTo>
                  <a:lnTo>
                    <a:pt x="154" y="28"/>
                  </a:lnTo>
                  <a:lnTo>
                    <a:pt x="154" y="160"/>
                  </a:lnTo>
                  <a:lnTo>
                    <a:pt x="69" y="160"/>
                  </a:lnTo>
                  <a:lnTo>
                    <a:pt x="69" y="28"/>
                  </a:lnTo>
                  <a:lnTo>
                    <a:pt x="0" y="28"/>
                  </a:lnTo>
                  <a:lnTo>
                    <a:pt x="0" y="25"/>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Rectangle 30"/>
            <p:cNvSpPr>
              <a:spLocks noChangeArrowheads="1"/>
            </p:cNvSpPr>
            <p:nvPr userDrawn="1"/>
          </p:nvSpPr>
          <p:spPr bwMode="auto">
            <a:xfrm>
              <a:off x="6802675" y="2539675"/>
              <a:ext cx="165457" cy="31895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31"/>
            <p:cNvSpPr>
              <a:spLocks/>
            </p:cNvSpPr>
            <p:nvPr userDrawn="1"/>
          </p:nvSpPr>
          <p:spPr bwMode="auto">
            <a:xfrm>
              <a:off x="7085744" y="2539675"/>
              <a:ext cx="500355" cy="318951"/>
            </a:xfrm>
            <a:custGeom>
              <a:avLst/>
              <a:gdLst>
                <a:gd name="T0" fmla="*/ 0 w 251"/>
                <a:gd name="T1" fmla="*/ 0 h 160"/>
                <a:gd name="T2" fmla="*/ 47 w 251"/>
                <a:gd name="T3" fmla="*/ 0 h 160"/>
                <a:gd name="T4" fmla="*/ 198 w 251"/>
                <a:gd name="T5" fmla="*/ 86 h 160"/>
                <a:gd name="T6" fmla="*/ 198 w 251"/>
                <a:gd name="T7" fmla="*/ 0 h 160"/>
                <a:gd name="T8" fmla="*/ 251 w 251"/>
                <a:gd name="T9" fmla="*/ 0 h 160"/>
                <a:gd name="T10" fmla="*/ 251 w 251"/>
                <a:gd name="T11" fmla="*/ 160 h 160"/>
                <a:gd name="T12" fmla="*/ 199 w 251"/>
                <a:gd name="T13" fmla="*/ 160 h 160"/>
                <a:gd name="T14" fmla="*/ 53 w 251"/>
                <a:gd name="T15" fmla="*/ 79 h 160"/>
                <a:gd name="T16" fmla="*/ 53 w 251"/>
                <a:gd name="T17" fmla="*/ 160 h 160"/>
                <a:gd name="T18" fmla="*/ 0 w 251"/>
                <a:gd name="T19" fmla="*/ 160 h 160"/>
                <a:gd name="T20" fmla="*/ 0 w 251"/>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0">
                  <a:moveTo>
                    <a:pt x="0" y="0"/>
                  </a:moveTo>
                  <a:lnTo>
                    <a:pt x="47" y="0"/>
                  </a:lnTo>
                  <a:lnTo>
                    <a:pt x="198" y="86"/>
                  </a:lnTo>
                  <a:lnTo>
                    <a:pt x="198" y="0"/>
                  </a:lnTo>
                  <a:lnTo>
                    <a:pt x="251" y="0"/>
                  </a:lnTo>
                  <a:lnTo>
                    <a:pt x="251" y="160"/>
                  </a:lnTo>
                  <a:lnTo>
                    <a:pt x="199" y="160"/>
                  </a:lnTo>
                  <a:lnTo>
                    <a:pt x="53" y="79"/>
                  </a:lnTo>
                  <a:lnTo>
                    <a:pt x="53" y="160"/>
                  </a:lnTo>
                  <a:lnTo>
                    <a:pt x="0" y="16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32"/>
            <p:cNvSpPr>
              <a:spLocks noEditPoints="1"/>
            </p:cNvSpPr>
            <p:nvPr userDrawn="1"/>
          </p:nvSpPr>
          <p:spPr bwMode="auto">
            <a:xfrm>
              <a:off x="3902213" y="1694455"/>
              <a:ext cx="4387573" cy="2527687"/>
            </a:xfrm>
            <a:custGeom>
              <a:avLst/>
              <a:gdLst>
                <a:gd name="T0" fmla="*/ 200 w 2201"/>
                <a:gd name="T1" fmla="*/ 30 h 1268"/>
                <a:gd name="T2" fmla="*/ 623 w 2201"/>
                <a:gd name="T3" fmla="*/ 190 h 1268"/>
                <a:gd name="T4" fmla="*/ 410 w 2201"/>
                <a:gd name="T5" fmla="*/ 268 h 1268"/>
                <a:gd name="T6" fmla="*/ 198 w 2201"/>
                <a:gd name="T7" fmla="*/ 376 h 1268"/>
                <a:gd name="T8" fmla="*/ 25 w 2201"/>
                <a:gd name="T9" fmla="*/ 560 h 1268"/>
                <a:gd name="T10" fmla="*/ 97 w 2201"/>
                <a:gd name="T11" fmla="*/ 751 h 1268"/>
                <a:gd name="T12" fmla="*/ 383 w 2201"/>
                <a:gd name="T13" fmla="*/ 903 h 1268"/>
                <a:gd name="T14" fmla="*/ 821 w 2201"/>
                <a:gd name="T15" fmla="*/ 994 h 1268"/>
                <a:gd name="T16" fmla="*/ 1274 w 2201"/>
                <a:gd name="T17" fmla="*/ 1003 h 1268"/>
                <a:gd name="T18" fmla="*/ 1284 w 2201"/>
                <a:gd name="T19" fmla="*/ 1016 h 1268"/>
                <a:gd name="T20" fmla="*/ 1100 w 2201"/>
                <a:gd name="T21" fmla="*/ 1028 h 1268"/>
                <a:gd name="T22" fmla="*/ 1265 w 2201"/>
                <a:gd name="T23" fmla="*/ 1076 h 1268"/>
                <a:gd name="T24" fmla="*/ 1526 w 2201"/>
                <a:gd name="T25" fmla="*/ 1152 h 1268"/>
                <a:gd name="T26" fmla="*/ 1754 w 2201"/>
                <a:gd name="T27" fmla="*/ 1218 h 1268"/>
                <a:gd name="T28" fmla="*/ 1854 w 2201"/>
                <a:gd name="T29" fmla="*/ 1247 h 1268"/>
                <a:gd name="T30" fmla="*/ 1869 w 2201"/>
                <a:gd name="T31" fmla="*/ 1242 h 1268"/>
                <a:gd name="T32" fmla="*/ 1867 w 2201"/>
                <a:gd name="T33" fmla="*/ 1224 h 1268"/>
                <a:gd name="T34" fmla="*/ 1627 w 2201"/>
                <a:gd name="T35" fmla="*/ 1003 h 1268"/>
                <a:gd name="T36" fmla="*/ 1790 w 2201"/>
                <a:gd name="T37" fmla="*/ 914 h 1268"/>
                <a:gd name="T38" fmla="*/ 2100 w 2201"/>
                <a:gd name="T39" fmla="*/ 754 h 1268"/>
                <a:gd name="T40" fmla="*/ 2175 w 2201"/>
                <a:gd name="T41" fmla="*/ 558 h 1268"/>
                <a:gd name="T42" fmla="*/ 2005 w 2201"/>
                <a:gd name="T43" fmla="*/ 376 h 1268"/>
                <a:gd name="T44" fmla="*/ 1636 w 2201"/>
                <a:gd name="T45" fmla="*/ 245 h 1268"/>
                <a:gd name="T46" fmla="*/ 1240 w 2201"/>
                <a:gd name="T47" fmla="*/ 194 h 1268"/>
                <a:gd name="T48" fmla="*/ 984 w 2201"/>
                <a:gd name="T49" fmla="*/ 191 h 1268"/>
                <a:gd name="T50" fmla="*/ 985 w 2201"/>
                <a:gd name="T51" fmla="*/ 174 h 1268"/>
                <a:gd name="T52" fmla="*/ 1095 w 2201"/>
                <a:gd name="T53" fmla="*/ 150 h 1268"/>
                <a:gd name="T54" fmla="*/ 885 w 2201"/>
                <a:gd name="T55" fmla="*/ 84 h 1268"/>
                <a:gd name="T56" fmla="*/ 713 w 2201"/>
                <a:gd name="T57" fmla="*/ 31 h 1268"/>
                <a:gd name="T58" fmla="*/ 210 w 2201"/>
                <a:gd name="T59" fmla="*/ 19 h 1268"/>
                <a:gd name="T60" fmla="*/ 1240 w 2201"/>
                <a:gd name="T61" fmla="*/ 174 h 1268"/>
                <a:gd name="T62" fmla="*/ 1754 w 2201"/>
                <a:gd name="T63" fmla="*/ 254 h 1268"/>
                <a:gd name="T64" fmla="*/ 2089 w 2201"/>
                <a:gd name="T65" fmla="*/ 409 h 1268"/>
                <a:gd name="T66" fmla="*/ 2201 w 2201"/>
                <a:gd name="T67" fmla="*/ 599 h 1268"/>
                <a:gd name="T68" fmla="*/ 2121 w 2201"/>
                <a:gd name="T69" fmla="*/ 760 h 1268"/>
                <a:gd name="T70" fmla="*/ 1819 w 2201"/>
                <a:gd name="T71" fmla="*/ 924 h 1268"/>
                <a:gd name="T72" fmla="*/ 1699 w 2201"/>
                <a:gd name="T73" fmla="*/ 1009 h 1268"/>
                <a:gd name="T74" fmla="*/ 1613 w 2201"/>
                <a:gd name="T75" fmla="*/ 1075 h 1268"/>
                <a:gd name="T76" fmla="*/ 1769 w 2201"/>
                <a:gd name="T77" fmla="*/ 1152 h 1268"/>
                <a:gd name="T78" fmla="*/ 1869 w 2201"/>
                <a:gd name="T79" fmla="*/ 1201 h 1268"/>
                <a:gd name="T80" fmla="*/ 1891 w 2201"/>
                <a:gd name="T81" fmla="*/ 1242 h 1268"/>
                <a:gd name="T82" fmla="*/ 1857 w 2201"/>
                <a:gd name="T83" fmla="*/ 1268 h 1268"/>
                <a:gd name="T84" fmla="*/ 907 w 2201"/>
                <a:gd name="T85" fmla="*/ 1021 h 1268"/>
                <a:gd name="T86" fmla="*/ 387 w 2201"/>
                <a:gd name="T87" fmla="*/ 926 h 1268"/>
                <a:gd name="T88" fmla="*/ 77 w 2201"/>
                <a:gd name="T89" fmla="*/ 759 h 1268"/>
                <a:gd name="T90" fmla="*/ 5 w 2201"/>
                <a:gd name="T91" fmla="*/ 558 h 1268"/>
                <a:gd name="T92" fmla="*/ 173 w 2201"/>
                <a:gd name="T93" fmla="*/ 369 h 1268"/>
                <a:gd name="T94" fmla="*/ 296 w 2201"/>
                <a:gd name="T95" fmla="*/ 248 h 1268"/>
                <a:gd name="T96" fmla="*/ 523 w 2201"/>
                <a:gd name="T97" fmla="*/ 174 h 1268"/>
                <a:gd name="T98" fmla="*/ 369 w 2201"/>
                <a:gd name="T99" fmla="*/ 120 h 1268"/>
                <a:gd name="T100" fmla="*/ 230 w 2201"/>
                <a:gd name="T101" fmla="*/ 71 h 1268"/>
                <a:gd name="T102" fmla="*/ 182 w 2201"/>
                <a:gd name="T103" fmla="*/ 4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1" h="1268">
                  <a:moveTo>
                    <a:pt x="210" y="19"/>
                  </a:moveTo>
                  <a:lnTo>
                    <a:pt x="206" y="21"/>
                  </a:lnTo>
                  <a:lnTo>
                    <a:pt x="203" y="22"/>
                  </a:lnTo>
                  <a:lnTo>
                    <a:pt x="200" y="25"/>
                  </a:lnTo>
                  <a:lnTo>
                    <a:pt x="200" y="30"/>
                  </a:lnTo>
                  <a:lnTo>
                    <a:pt x="200" y="34"/>
                  </a:lnTo>
                  <a:lnTo>
                    <a:pt x="203" y="37"/>
                  </a:lnTo>
                  <a:lnTo>
                    <a:pt x="206" y="40"/>
                  </a:lnTo>
                  <a:lnTo>
                    <a:pt x="586" y="176"/>
                  </a:lnTo>
                  <a:lnTo>
                    <a:pt x="623" y="190"/>
                  </a:lnTo>
                  <a:lnTo>
                    <a:pt x="585" y="196"/>
                  </a:lnTo>
                  <a:lnTo>
                    <a:pt x="506" y="211"/>
                  </a:lnTo>
                  <a:lnTo>
                    <a:pt x="431" y="229"/>
                  </a:lnTo>
                  <a:lnTo>
                    <a:pt x="360" y="250"/>
                  </a:lnTo>
                  <a:lnTo>
                    <a:pt x="410" y="268"/>
                  </a:lnTo>
                  <a:lnTo>
                    <a:pt x="438" y="277"/>
                  </a:lnTo>
                  <a:lnTo>
                    <a:pt x="410" y="286"/>
                  </a:lnTo>
                  <a:lnTo>
                    <a:pt x="331" y="313"/>
                  </a:lnTo>
                  <a:lnTo>
                    <a:pt x="260" y="343"/>
                  </a:lnTo>
                  <a:lnTo>
                    <a:pt x="198" y="376"/>
                  </a:lnTo>
                  <a:lnTo>
                    <a:pt x="145" y="409"/>
                  </a:lnTo>
                  <a:lnTo>
                    <a:pt x="102" y="446"/>
                  </a:lnTo>
                  <a:lnTo>
                    <a:pt x="65" y="482"/>
                  </a:lnTo>
                  <a:lnTo>
                    <a:pt x="41" y="521"/>
                  </a:lnTo>
                  <a:lnTo>
                    <a:pt x="25" y="560"/>
                  </a:lnTo>
                  <a:lnTo>
                    <a:pt x="20" y="599"/>
                  </a:lnTo>
                  <a:lnTo>
                    <a:pt x="25" y="640"/>
                  </a:lnTo>
                  <a:lnTo>
                    <a:pt x="40" y="677"/>
                  </a:lnTo>
                  <a:lnTo>
                    <a:pt x="64" y="715"/>
                  </a:lnTo>
                  <a:lnTo>
                    <a:pt x="97" y="751"/>
                  </a:lnTo>
                  <a:lnTo>
                    <a:pt x="139" y="786"/>
                  </a:lnTo>
                  <a:lnTo>
                    <a:pt x="189" y="819"/>
                  </a:lnTo>
                  <a:lnTo>
                    <a:pt x="247" y="849"/>
                  </a:lnTo>
                  <a:lnTo>
                    <a:pt x="312" y="878"/>
                  </a:lnTo>
                  <a:lnTo>
                    <a:pt x="383" y="903"/>
                  </a:lnTo>
                  <a:lnTo>
                    <a:pt x="460" y="927"/>
                  </a:lnTo>
                  <a:lnTo>
                    <a:pt x="543" y="948"/>
                  </a:lnTo>
                  <a:lnTo>
                    <a:pt x="630" y="967"/>
                  </a:lnTo>
                  <a:lnTo>
                    <a:pt x="722" y="982"/>
                  </a:lnTo>
                  <a:lnTo>
                    <a:pt x="821" y="994"/>
                  </a:lnTo>
                  <a:lnTo>
                    <a:pt x="920" y="1003"/>
                  </a:lnTo>
                  <a:lnTo>
                    <a:pt x="1024" y="1007"/>
                  </a:lnTo>
                  <a:lnTo>
                    <a:pt x="1100" y="1007"/>
                  </a:lnTo>
                  <a:lnTo>
                    <a:pt x="1188" y="1006"/>
                  </a:lnTo>
                  <a:lnTo>
                    <a:pt x="1274" y="1003"/>
                  </a:lnTo>
                  <a:lnTo>
                    <a:pt x="1278" y="1003"/>
                  </a:lnTo>
                  <a:lnTo>
                    <a:pt x="1281" y="1006"/>
                  </a:lnTo>
                  <a:lnTo>
                    <a:pt x="1284" y="1009"/>
                  </a:lnTo>
                  <a:lnTo>
                    <a:pt x="1284" y="1012"/>
                  </a:lnTo>
                  <a:lnTo>
                    <a:pt x="1284" y="1016"/>
                  </a:lnTo>
                  <a:lnTo>
                    <a:pt x="1283" y="1019"/>
                  </a:lnTo>
                  <a:lnTo>
                    <a:pt x="1280" y="1021"/>
                  </a:lnTo>
                  <a:lnTo>
                    <a:pt x="1275" y="1022"/>
                  </a:lnTo>
                  <a:lnTo>
                    <a:pt x="1189" y="1027"/>
                  </a:lnTo>
                  <a:lnTo>
                    <a:pt x="1100" y="1028"/>
                  </a:lnTo>
                  <a:lnTo>
                    <a:pt x="1100" y="1028"/>
                  </a:lnTo>
                  <a:lnTo>
                    <a:pt x="1133" y="1037"/>
                  </a:lnTo>
                  <a:lnTo>
                    <a:pt x="1172" y="1049"/>
                  </a:lnTo>
                  <a:lnTo>
                    <a:pt x="1216" y="1061"/>
                  </a:lnTo>
                  <a:lnTo>
                    <a:pt x="1265" y="1076"/>
                  </a:lnTo>
                  <a:lnTo>
                    <a:pt x="1314" y="1090"/>
                  </a:lnTo>
                  <a:lnTo>
                    <a:pt x="1366" y="1105"/>
                  </a:lnTo>
                  <a:lnTo>
                    <a:pt x="1419" y="1120"/>
                  </a:lnTo>
                  <a:lnTo>
                    <a:pt x="1473" y="1137"/>
                  </a:lnTo>
                  <a:lnTo>
                    <a:pt x="1526" y="1152"/>
                  </a:lnTo>
                  <a:lnTo>
                    <a:pt x="1577" y="1167"/>
                  </a:lnTo>
                  <a:lnTo>
                    <a:pt x="1625" y="1182"/>
                  </a:lnTo>
                  <a:lnTo>
                    <a:pt x="1672" y="1195"/>
                  </a:lnTo>
                  <a:lnTo>
                    <a:pt x="1716" y="1207"/>
                  </a:lnTo>
                  <a:lnTo>
                    <a:pt x="1754" y="1218"/>
                  </a:lnTo>
                  <a:lnTo>
                    <a:pt x="1789" y="1229"/>
                  </a:lnTo>
                  <a:lnTo>
                    <a:pt x="1816" y="1236"/>
                  </a:lnTo>
                  <a:lnTo>
                    <a:pt x="1835" y="1242"/>
                  </a:lnTo>
                  <a:lnTo>
                    <a:pt x="1849" y="1247"/>
                  </a:lnTo>
                  <a:lnTo>
                    <a:pt x="1854" y="1247"/>
                  </a:lnTo>
                  <a:lnTo>
                    <a:pt x="1857" y="1248"/>
                  </a:lnTo>
                  <a:lnTo>
                    <a:pt x="1861" y="1248"/>
                  </a:lnTo>
                  <a:lnTo>
                    <a:pt x="1864" y="1247"/>
                  </a:lnTo>
                  <a:lnTo>
                    <a:pt x="1867" y="1244"/>
                  </a:lnTo>
                  <a:lnTo>
                    <a:pt x="1869" y="1242"/>
                  </a:lnTo>
                  <a:lnTo>
                    <a:pt x="1870" y="1238"/>
                  </a:lnTo>
                  <a:lnTo>
                    <a:pt x="1872" y="1235"/>
                  </a:lnTo>
                  <a:lnTo>
                    <a:pt x="1872" y="1230"/>
                  </a:lnTo>
                  <a:lnTo>
                    <a:pt x="1869" y="1227"/>
                  </a:lnTo>
                  <a:lnTo>
                    <a:pt x="1867" y="1224"/>
                  </a:lnTo>
                  <a:lnTo>
                    <a:pt x="1864" y="1221"/>
                  </a:lnTo>
                  <a:lnTo>
                    <a:pt x="1502" y="1042"/>
                  </a:lnTo>
                  <a:lnTo>
                    <a:pt x="1471" y="1028"/>
                  </a:lnTo>
                  <a:lnTo>
                    <a:pt x="1505" y="1024"/>
                  </a:lnTo>
                  <a:lnTo>
                    <a:pt x="1627" y="1003"/>
                  </a:lnTo>
                  <a:lnTo>
                    <a:pt x="1745" y="979"/>
                  </a:lnTo>
                  <a:lnTo>
                    <a:pt x="1701" y="956"/>
                  </a:lnTo>
                  <a:lnTo>
                    <a:pt x="1677" y="944"/>
                  </a:lnTo>
                  <a:lnTo>
                    <a:pt x="1704" y="938"/>
                  </a:lnTo>
                  <a:lnTo>
                    <a:pt x="1790" y="914"/>
                  </a:lnTo>
                  <a:lnTo>
                    <a:pt x="1869" y="885"/>
                  </a:lnTo>
                  <a:lnTo>
                    <a:pt x="1938" y="857"/>
                  </a:lnTo>
                  <a:lnTo>
                    <a:pt x="2002" y="825"/>
                  </a:lnTo>
                  <a:lnTo>
                    <a:pt x="2054" y="790"/>
                  </a:lnTo>
                  <a:lnTo>
                    <a:pt x="2100" y="754"/>
                  </a:lnTo>
                  <a:lnTo>
                    <a:pt x="2134" y="718"/>
                  </a:lnTo>
                  <a:lnTo>
                    <a:pt x="2160" y="679"/>
                  </a:lnTo>
                  <a:lnTo>
                    <a:pt x="2175" y="640"/>
                  </a:lnTo>
                  <a:lnTo>
                    <a:pt x="2181" y="599"/>
                  </a:lnTo>
                  <a:lnTo>
                    <a:pt x="2175" y="558"/>
                  </a:lnTo>
                  <a:lnTo>
                    <a:pt x="2160" y="519"/>
                  </a:lnTo>
                  <a:lnTo>
                    <a:pt x="2134" y="482"/>
                  </a:lnTo>
                  <a:lnTo>
                    <a:pt x="2100" y="444"/>
                  </a:lnTo>
                  <a:lnTo>
                    <a:pt x="2056" y="409"/>
                  </a:lnTo>
                  <a:lnTo>
                    <a:pt x="2005" y="376"/>
                  </a:lnTo>
                  <a:lnTo>
                    <a:pt x="1944" y="345"/>
                  </a:lnTo>
                  <a:lnTo>
                    <a:pt x="1878" y="316"/>
                  </a:lnTo>
                  <a:lnTo>
                    <a:pt x="1804" y="289"/>
                  </a:lnTo>
                  <a:lnTo>
                    <a:pt x="1722" y="266"/>
                  </a:lnTo>
                  <a:lnTo>
                    <a:pt x="1636" y="245"/>
                  </a:lnTo>
                  <a:lnTo>
                    <a:pt x="1544" y="227"/>
                  </a:lnTo>
                  <a:lnTo>
                    <a:pt x="1447" y="212"/>
                  </a:lnTo>
                  <a:lnTo>
                    <a:pt x="1346" y="202"/>
                  </a:lnTo>
                  <a:lnTo>
                    <a:pt x="1240" y="194"/>
                  </a:lnTo>
                  <a:lnTo>
                    <a:pt x="1240" y="194"/>
                  </a:lnTo>
                  <a:lnTo>
                    <a:pt x="1171" y="193"/>
                  </a:lnTo>
                  <a:lnTo>
                    <a:pt x="1100" y="191"/>
                  </a:lnTo>
                  <a:lnTo>
                    <a:pt x="990" y="194"/>
                  </a:lnTo>
                  <a:lnTo>
                    <a:pt x="987" y="193"/>
                  </a:lnTo>
                  <a:lnTo>
                    <a:pt x="984" y="191"/>
                  </a:lnTo>
                  <a:lnTo>
                    <a:pt x="981" y="188"/>
                  </a:lnTo>
                  <a:lnTo>
                    <a:pt x="979" y="184"/>
                  </a:lnTo>
                  <a:lnTo>
                    <a:pt x="981" y="180"/>
                  </a:lnTo>
                  <a:lnTo>
                    <a:pt x="982" y="176"/>
                  </a:lnTo>
                  <a:lnTo>
                    <a:pt x="985" y="174"/>
                  </a:lnTo>
                  <a:lnTo>
                    <a:pt x="990" y="173"/>
                  </a:lnTo>
                  <a:lnTo>
                    <a:pt x="1100" y="171"/>
                  </a:lnTo>
                  <a:lnTo>
                    <a:pt x="1165" y="171"/>
                  </a:lnTo>
                  <a:lnTo>
                    <a:pt x="1132" y="162"/>
                  </a:lnTo>
                  <a:lnTo>
                    <a:pt x="1095" y="150"/>
                  </a:lnTo>
                  <a:lnTo>
                    <a:pt x="1056" y="138"/>
                  </a:lnTo>
                  <a:lnTo>
                    <a:pt x="1014" y="125"/>
                  </a:lnTo>
                  <a:lnTo>
                    <a:pt x="972" y="111"/>
                  </a:lnTo>
                  <a:lnTo>
                    <a:pt x="928" y="98"/>
                  </a:lnTo>
                  <a:lnTo>
                    <a:pt x="885" y="84"/>
                  </a:lnTo>
                  <a:lnTo>
                    <a:pt x="843" y="72"/>
                  </a:lnTo>
                  <a:lnTo>
                    <a:pt x="805" y="60"/>
                  </a:lnTo>
                  <a:lnTo>
                    <a:pt x="769" y="49"/>
                  </a:lnTo>
                  <a:lnTo>
                    <a:pt x="739" y="39"/>
                  </a:lnTo>
                  <a:lnTo>
                    <a:pt x="713" y="31"/>
                  </a:lnTo>
                  <a:lnTo>
                    <a:pt x="694" y="25"/>
                  </a:lnTo>
                  <a:lnTo>
                    <a:pt x="682" y="21"/>
                  </a:lnTo>
                  <a:lnTo>
                    <a:pt x="677" y="19"/>
                  </a:lnTo>
                  <a:lnTo>
                    <a:pt x="672" y="19"/>
                  </a:lnTo>
                  <a:lnTo>
                    <a:pt x="210" y="19"/>
                  </a:lnTo>
                  <a:close/>
                  <a:moveTo>
                    <a:pt x="210" y="0"/>
                  </a:moveTo>
                  <a:lnTo>
                    <a:pt x="672" y="0"/>
                  </a:lnTo>
                  <a:lnTo>
                    <a:pt x="679" y="0"/>
                  </a:lnTo>
                  <a:lnTo>
                    <a:pt x="683" y="1"/>
                  </a:lnTo>
                  <a:lnTo>
                    <a:pt x="1240" y="174"/>
                  </a:lnTo>
                  <a:lnTo>
                    <a:pt x="1352" y="182"/>
                  </a:lnTo>
                  <a:lnTo>
                    <a:pt x="1459" y="194"/>
                  </a:lnTo>
                  <a:lnTo>
                    <a:pt x="1562" y="211"/>
                  </a:lnTo>
                  <a:lnTo>
                    <a:pt x="1662" y="230"/>
                  </a:lnTo>
                  <a:lnTo>
                    <a:pt x="1754" y="254"/>
                  </a:lnTo>
                  <a:lnTo>
                    <a:pt x="1841" y="281"/>
                  </a:lnTo>
                  <a:lnTo>
                    <a:pt x="1920" y="313"/>
                  </a:lnTo>
                  <a:lnTo>
                    <a:pt x="1985" y="343"/>
                  </a:lnTo>
                  <a:lnTo>
                    <a:pt x="2041" y="376"/>
                  </a:lnTo>
                  <a:lnTo>
                    <a:pt x="2089" y="409"/>
                  </a:lnTo>
                  <a:lnTo>
                    <a:pt x="2128" y="446"/>
                  </a:lnTo>
                  <a:lnTo>
                    <a:pt x="2160" y="483"/>
                  </a:lnTo>
                  <a:lnTo>
                    <a:pt x="2183" y="521"/>
                  </a:lnTo>
                  <a:lnTo>
                    <a:pt x="2196" y="560"/>
                  </a:lnTo>
                  <a:lnTo>
                    <a:pt x="2201" y="599"/>
                  </a:lnTo>
                  <a:lnTo>
                    <a:pt x="2201" y="599"/>
                  </a:lnTo>
                  <a:lnTo>
                    <a:pt x="2196" y="641"/>
                  </a:lnTo>
                  <a:lnTo>
                    <a:pt x="2181" y="682"/>
                  </a:lnTo>
                  <a:lnTo>
                    <a:pt x="2156" y="723"/>
                  </a:lnTo>
                  <a:lnTo>
                    <a:pt x="2121" y="760"/>
                  </a:lnTo>
                  <a:lnTo>
                    <a:pt x="2077" y="798"/>
                  </a:lnTo>
                  <a:lnTo>
                    <a:pt x="2026" y="833"/>
                  </a:lnTo>
                  <a:lnTo>
                    <a:pt x="1964" y="866"/>
                  </a:lnTo>
                  <a:lnTo>
                    <a:pt x="1896" y="897"/>
                  </a:lnTo>
                  <a:lnTo>
                    <a:pt x="1819" y="924"/>
                  </a:lnTo>
                  <a:lnTo>
                    <a:pt x="1734" y="950"/>
                  </a:lnTo>
                  <a:lnTo>
                    <a:pt x="1778" y="973"/>
                  </a:lnTo>
                  <a:lnTo>
                    <a:pt x="1802" y="985"/>
                  </a:lnTo>
                  <a:lnTo>
                    <a:pt x="1777" y="991"/>
                  </a:lnTo>
                  <a:lnTo>
                    <a:pt x="1699" y="1009"/>
                  </a:lnTo>
                  <a:lnTo>
                    <a:pt x="1621" y="1025"/>
                  </a:lnTo>
                  <a:lnTo>
                    <a:pt x="1539" y="1039"/>
                  </a:lnTo>
                  <a:lnTo>
                    <a:pt x="1561" y="1049"/>
                  </a:lnTo>
                  <a:lnTo>
                    <a:pt x="1585" y="1061"/>
                  </a:lnTo>
                  <a:lnTo>
                    <a:pt x="1613" y="1075"/>
                  </a:lnTo>
                  <a:lnTo>
                    <a:pt x="1642" y="1090"/>
                  </a:lnTo>
                  <a:lnTo>
                    <a:pt x="1674" y="1105"/>
                  </a:lnTo>
                  <a:lnTo>
                    <a:pt x="1707" y="1122"/>
                  </a:lnTo>
                  <a:lnTo>
                    <a:pt x="1739" y="1137"/>
                  </a:lnTo>
                  <a:lnTo>
                    <a:pt x="1769" y="1152"/>
                  </a:lnTo>
                  <a:lnTo>
                    <a:pt x="1796" y="1165"/>
                  </a:lnTo>
                  <a:lnTo>
                    <a:pt x="1822" y="1179"/>
                  </a:lnTo>
                  <a:lnTo>
                    <a:pt x="1843" y="1189"/>
                  </a:lnTo>
                  <a:lnTo>
                    <a:pt x="1858" y="1197"/>
                  </a:lnTo>
                  <a:lnTo>
                    <a:pt x="1869" y="1201"/>
                  </a:lnTo>
                  <a:lnTo>
                    <a:pt x="1872" y="1203"/>
                  </a:lnTo>
                  <a:lnTo>
                    <a:pt x="1882" y="1212"/>
                  </a:lnTo>
                  <a:lnTo>
                    <a:pt x="1890" y="1223"/>
                  </a:lnTo>
                  <a:lnTo>
                    <a:pt x="1891" y="1236"/>
                  </a:lnTo>
                  <a:lnTo>
                    <a:pt x="1891" y="1242"/>
                  </a:lnTo>
                  <a:lnTo>
                    <a:pt x="1888" y="1248"/>
                  </a:lnTo>
                  <a:lnTo>
                    <a:pt x="1885" y="1254"/>
                  </a:lnTo>
                  <a:lnTo>
                    <a:pt x="1881" y="1259"/>
                  </a:lnTo>
                  <a:lnTo>
                    <a:pt x="1870" y="1266"/>
                  </a:lnTo>
                  <a:lnTo>
                    <a:pt x="1857" y="1268"/>
                  </a:lnTo>
                  <a:lnTo>
                    <a:pt x="1852" y="1268"/>
                  </a:lnTo>
                  <a:lnTo>
                    <a:pt x="1848" y="1266"/>
                  </a:lnTo>
                  <a:lnTo>
                    <a:pt x="1024" y="1027"/>
                  </a:lnTo>
                  <a:lnTo>
                    <a:pt x="1023" y="1027"/>
                  </a:lnTo>
                  <a:lnTo>
                    <a:pt x="907" y="1021"/>
                  </a:lnTo>
                  <a:lnTo>
                    <a:pt x="793" y="1012"/>
                  </a:lnTo>
                  <a:lnTo>
                    <a:pt x="683" y="997"/>
                  </a:lnTo>
                  <a:lnTo>
                    <a:pt x="579" y="977"/>
                  </a:lnTo>
                  <a:lnTo>
                    <a:pt x="479" y="953"/>
                  </a:lnTo>
                  <a:lnTo>
                    <a:pt x="387" y="926"/>
                  </a:lnTo>
                  <a:lnTo>
                    <a:pt x="301" y="894"/>
                  </a:lnTo>
                  <a:lnTo>
                    <a:pt x="233" y="864"/>
                  </a:lnTo>
                  <a:lnTo>
                    <a:pt x="173" y="831"/>
                  </a:lnTo>
                  <a:lnTo>
                    <a:pt x="120" y="796"/>
                  </a:lnTo>
                  <a:lnTo>
                    <a:pt x="77" y="759"/>
                  </a:lnTo>
                  <a:lnTo>
                    <a:pt x="44" y="721"/>
                  </a:lnTo>
                  <a:lnTo>
                    <a:pt x="20" y="682"/>
                  </a:lnTo>
                  <a:lnTo>
                    <a:pt x="5" y="641"/>
                  </a:lnTo>
                  <a:lnTo>
                    <a:pt x="0" y="599"/>
                  </a:lnTo>
                  <a:lnTo>
                    <a:pt x="5" y="558"/>
                  </a:lnTo>
                  <a:lnTo>
                    <a:pt x="20" y="518"/>
                  </a:lnTo>
                  <a:lnTo>
                    <a:pt x="44" y="479"/>
                  </a:lnTo>
                  <a:lnTo>
                    <a:pt x="77" y="439"/>
                  </a:lnTo>
                  <a:lnTo>
                    <a:pt x="121" y="403"/>
                  </a:lnTo>
                  <a:lnTo>
                    <a:pt x="173" y="369"/>
                  </a:lnTo>
                  <a:lnTo>
                    <a:pt x="231" y="336"/>
                  </a:lnTo>
                  <a:lnTo>
                    <a:pt x="299" y="304"/>
                  </a:lnTo>
                  <a:lnTo>
                    <a:pt x="376" y="277"/>
                  </a:lnTo>
                  <a:lnTo>
                    <a:pt x="325" y="259"/>
                  </a:lnTo>
                  <a:lnTo>
                    <a:pt x="296" y="248"/>
                  </a:lnTo>
                  <a:lnTo>
                    <a:pt x="325" y="239"/>
                  </a:lnTo>
                  <a:lnTo>
                    <a:pt x="395" y="218"/>
                  </a:lnTo>
                  <a:lnTo>
                    <a:pt x="469" y="200"/>
                  </a:lnTo>
                  <a:lnTo>
                    <a:pt x="546" y="182"/>
                  </a:lnTo>
                  <a:lnTo>
                    <a:pt x="523" y="174"/>
                  </a:lnTo>
                  <a:lnTo>
                    <a:pt x="497" y="165"/>
                  </a:lnTo>
                  <a:lnTo>
                    <a:pt x="467" y="155"/>
                  </a:lnTo>
                  <a:lnTo>
                    <a:pt x="435" y="143"/>
                  </a:lnTo>
                  <a:lnTo>
                    <a:pt x="402" y="132"/>
                  </a:lnTo>
                  <a:lnTo>
                    <a:pt x="369" y="120"/>
                  </a:lnTo>
                  <a:lnTo>
                    <a:pt x="337" y="108"/>
                  </a:lnTo>
                  <a:lnTo>
                    <a:pt x="305" y="98"/>
                  </a:lnTo>
                  <a:lnTo>
                    <a:pt x="277" y="87"/>
                  </a:lnTo>
                  <a:lnTo>
                    <a:pt x="251" y="78"/>
                  </a:lnTo>
                  <a:lnTo>
                    <a:pt x="230" y="71"/>
                  </a:lnTo>
                  <a:lnTo>
                    <a:pt x="213" y="65"/>
                  </a:lnTo>
                  <a:lnTo>
                    <a:pt x="203" y="60"/>
                  </a:lnTo>
                  <a:lnTo>
                    <a:pt x="198" y="59"/>
                  </a:lnTo>
                  <a:lnTo>
                    <a:pt x="189" y="52"/>
                  </a:lnTo>
                  <a:lnTo>
                    <a:pt x="182" y="42"/>
                  </a:lnTo>
                  <a:lnTo>
                    <a:pt x="179" y="30"/>
                  </a:lnTo>
                  <a:lnTo>
                    <a:pt x="183" y="15"/>
                  </a:lnTo>
                  <a:lnTo>
                    <a:pt x="195" y="3"/>
                  </a:lnTo>
                  <a:lnTo>
                    <a:pt x="210" y="0"/>
                  </a:lnTo>
                  <a:close/>
                </a:path>
              </a:pathLst>
            </a:custGeom>
            <a:solidFill>
              <a:srgbClr val="0F07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33"/>
            <p:cNvSpPr>
              <a:spLocks noEditPoints="1"/>
            </p:cNvSpPr>
            <p:nvPr userDrawn="1"/>
          </p:nvSpPr>
          <p:spPr bwMode="auto">
            <a:xfrm>
              <a:off x="7586099" y="1909747"/>
              <a:ext cx="306991" cy="312971"/>
            </a:xfrm>
            <a:custGeom>
              <a:avLst/>
              <a:gdLst>
                <a:gd name="T0" fmla="*/ 66 w 154"/>
                <a:gd name="T1" fmla="*/ 45 h 157"/>
                <a:gd name="T2" fmla="*/ 63 w 154"/>
                <a:gd name="T3" fmla="*/ 76 h 157"/>
                <a:gd name="T4" fmla="*/ 78 w 154"/>
                <a:gd name="T5" fmla="*/ 76 h 157"/>
                <a:gd name="T6" fmla="*/ 87 w 154"/>
                <a:gd name="T7" fmla="*/ 72 h 157"/>
                <a:gd name="T8" fmla="*/ 93 w 154"/>
                <a:gd name="T9" fmla="*/ 66 h 157"/>
                <a:gd name="T10" fmla="*/ 93 w 154"/>
                <a:gd name="T11" fmla="*/ 57 h 157"/>
                <a:gd name="T12" fmla="*/ 89 w 154"/>
                <a:gd name="T13" fmla="*/ 50 h 157"/>
                <a:gd name="T14" fmla="*/ 80 w 154"/>
                <a:gd name="T15" fmla="*/ 47 h 157"/>
                <a:gd name="T16" fmla="*/ 74 w 154"/>
                <a:gd name="T17" fmla="*/ 35 h 157"/>
                <a:gd name="T18" fmla="*/ 101 w 154"/>
                <a:gd name="T19" fmla="*/ 42 h 157"/>
                <a:gd name="T20" fmla="*/ 107 w 154"/>
                <a:gd name="T21" fmla="*/ 48 h 157"/>
                <a:gd name="T22" fmla="*/ 108 w 154"/>
                <a:gd name="T23" fmla="*/ 60 h 157"/>
                <a:gd name="T24" fmla="*/ 105 w 154"/>
                <a:gd name="T25" fmla="*/ 71 h 157"/>
                <a:gd name="T26" fmla="*/ 96 w 154"/>
                <a:gd name="T27" fmla="*/ 79 h 157"/>
                <a:gd name="T28" fmla="*/ 92 w 154"/>
                <a:gd name="T29" fmla="*/ 82 h 157"/>
                <a:gd name="T30" fmla="*/ 99 w 154"/>
                <a:gd name="T31" fmla="*/ 86 h 157"/>
                <a:gd name="T32" fmla="*/ 104 w 154"/>
                <a:gd name="T33" fmla="*/ 95 h 157"/>
                <a:gd name="T34" fmla="*/ 107 w 154"/>
                <a:gd name="T35" fmla="*/ 110 h 157"/>
                <a:gd name="T36" fmla="*/ 110 w 154"/>
                <a:gd name="T37" fmla="*/ 119 h 157"/>
                <a:gd name="T38" fmla="*/ 111 w 154"/>
                <a:gd name="T39" fmla="*/ 124 h 157"/>
                <a:gd name="T40" fmla="*/ 95 w 154"/>
                <a:gd name="T41" fmla="*/ 121 h 157"/>
                <a:gd name="T42" fmla="*/ 92 w 154"/>
                <a:gd name="T43" fmla="*/ 110 h 157"/>
                <a:gd name="T44" fmla="*/ 89 w 154"/>
                <a:gd name="T45" fmla="*/ 97 h 157"/>
                <a:gd name="T46" fmla="*/ 83 w 154"/>
                <a:gd name="T47" fmla="*/ 89 h 157"/>
                <a:gd name="T48" fmla="*/ 72 w 154"/>
                <a:gd name="T49" fmla="*/ 86 h 157"/>
                <a:gd name="T50" fmla="*/ 63 w 154"/>
                <a:gd name="T51" fmla="*/ 124 h 157"/>
                <a:gd name="T52" fmla="*/ 48 w 154"/>
                <a:gd name="T53" fmla="*/ 38 h 157"/>
                <a:gd name="T54" fmla="*/ 74 w 154"/>
                <a:gd name="T55" fmla="*/ 35 h 157"/>
                <a:gd name="T56" fmla="*/ 57 w 154"/>
                <a:gd name="T57" fmla="*/ 17 h 157"/>
                <a:gd name="T58" fmla="*/ 27 w 154"/>
                <a:gd name="T59" fmla="*/ 39 h 157"/>
                <a:gd name="T60" fmla="*/ 15 w 154"/>
                <a:gd name="T61" fmla="*/ 79 h 157"/>
                <a:gd name="T62" fmla="*/ 27 w 154"/>
                <a:gd name="T63" fmla="*/ 118 h 157"/>
                <a:gd name="T64" fmla="*/ 57 w 154"/>
                <a:gd name="T65" fmla="*/ 142 h 157"/>
                <a:gd name="T66" fmla="*/ 98 w 154"/>
                <a:gd name="T67" fmla="*/ 142 h 157"/>
                <a:gd name="T68" fmla="*/ 128 w 154"/>
                <a:gd name="T69" fmla="*/ 118 h 157"/>
                <a:gd name="T70" fmla="*/ 140 w 154"/>
                <a:gd name="T71" fmla="*/ 79 h 157"/>
                <a:gd name="T72" fmla="*/ 128 w 154"/>
                <a:gd name="T73" fmla="*/ 39 h 157"/>
                <a:gd name="T74" fmla="*/ 98 w 154"/>
                <a:gd name="T75" fmla="*/ 17 h 157"/>
                <a:gd name="T76" fmla="*/ 77 w 154"/>
                <a:gd name="T77" fmla="*/ 12 h 157"/>
                <a:gd name="T78" fmla="*/ 78 w 154"/>
                <a:gd name="T79" fmla="*/ 0 h 157"/>
                <a:gd name="T80" fmla="*/ 123 w 154"/>
                <a:gd name="T81" fmla="*/ 15 h 157"/>
                <a:gd name="T82" fmla="*/ 151 w 154"/>
                <a:gd name="T83" fmla="*/ 54 h 157"/>
                <a:gd name="T84" fmla="*/ 151 w 154"/>
                <a:gd name="T85" fmla="*/ 104 h 157"/>
                <a:gd name="T86" fmla="*/ 123 w 154"/>
                <a:gd name="T87" fmla="*/ 142 h 157"/>
                <a:gd name="T88" fmla="*/ 77 w 154"/>
                <a:gd name="T89" fmla="*/ 157 h 157"/>
                <a:gd name="T90" fmla="*/ 31 w 154"/>
                <a:gd name="T91" fmla="*/ 142 h 157"/>
                <a:gd name="T92" fmla="*/ 4 w 154"/>
                <a:gd name="T93" fmla="*/ 104 h 157"/>
                <a:gd name="T94" fmla="*/ 4 w 154"/>
                <a:gd name="T95" fmla="*/ 54 h 157"/>
                <a:gd name="T96" fmla="*/ 31 w 154"/>
                <a:gd name="T97" fmla="*/ 15 h 157"/>
                <a:gd name="T98" fmla="*/ 77 w 154"/>
                <a:gd name="T9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57">
                  <a:moveTo>
                    <a:pt x="72" y="45"/>
                  </a:moveTo>
                  <a:lnTo>
                    <a:pt x="66" y="45"/>
                  </a:lnTo>
                  <a:lnTo>
                    <a:pt x="63" y="47"/>
                  </a:lnTo>
                  <a:lnTo>
                    <a:pt x="63" y="76"/>
                  </a:lnTo>
                  <a:lnTo>
                    <a:pt x="72" y="76"/>
                  </a:lnTo>
                  <a:lnTo>
                    <a:pt x="78" y="76"/>
                  </a:lnTo>
                  <a:lnTo>
                    <a:pt x="83" y="74"/>
                  </a:lnTo>
                  <a:lnTo>
                    <a:pt x="87" y="72"/>
                  </a:lnTo>
                  <a:lnTo>
                    <a:pt x="90" y="69"/>
                  </a:lnTo>
                  <a:lnTo>
                    <a:pt x="93" y="66"/>
                  </a:lnTo>
                  <a:lnTo>
                    <a:pt x="93" y="60"/>
                  </a:lnTo>
                  <a:lnTo>
                    <a:pt x="93" y="57"/>
                  </a:lnTo>
                  <a:lnTo>
                    <a:pt x="92" y="54"/>
                  </a:lnTo>
                  <a:lnTo>
                    <a:pt x="89" y="50"/>
                  </a:lnTo>
                  <a:lnTo>
                    <a:pt x="86" y="48"/>
                  </a:lnTo>
                  <a:lnTo>
                    <a:pt x="80" y="47"/>
                  </a:lnTo>
                  <a:lnTo>
                    <a:pt x="72" y="45"/>
                  </a:lnTo>
                  <a:close/>
                  <a:moveTo>
                    <a:pt x="74" y="35"/>
                  </a:moveTo>
                  <a:lnTo>
                    <a:pt x="90" y="36"/>
                  </a:lnTo>
                  <a:lnTo>
                    <a:pt x="101" y="42"/>
                  </a:lnTo>
                  <a:lnTo>
                    <a:pt x="104" y="45"/>
                  </a:lnTo>
                  <a:lnTo>
                    <a:pt x="107" y="48"/>
                  </a:lnTo>
                  <a:lnTo>
                    <a:pt x="108" y="54"/>
                  </a:lnTo>
                  <a:lnTo>
                    <a:pt x="108" y="60"/>
                  </a:lnTo>
                  <a:lnTo>
                    <a:pt x="107" y="66"/>
                  </a:lnTo>
                  <a:lnTo>
                    <a:pt x="105" y="71"/>
                  </a:lnTo>
                  <a:lnTo>
                    <a:pt x="101" y="76"/>
                  </a:lnTo>
                  <a:lnTo>
                    <a:pt x="96" y="79"/>
                  </a:lnTo>
                  <a:lnTo>
                    <a:pt x="92" y="82"/>
                  </a:lnTo>
                  <a:lnTo>
                    <a:pt x="92" y="82"/>
                  </a:lnTo>
                  <a:lnTo>
                    <a:pt x="96" y="83"/>
                  </a:lnTo>
                  <a:lnTo>
                    <a:pt x="99" y="86"/>
                  </a:lnTo>
                  <a:lnTo>
                    <a:pt x="102" y="91"/>
                  </a:lnTo>
                  <a:lnTo>
                    <a:pt x="104" y="95"/>
                  </a:lnTo>
                  <a:lnTo>
                    <a:pt x="105" y="103"/>
                  </a:lnTo>
                  <a:lnTo>
                    <a:pt x="107" y="110"/>
                  </a:lnTo>
                  <a:lnTo>
                    <a:pt x="108" y="115"/>
                  </a:lnTo>
                  <a:lnTo>
                    <a:pt x="110" y="119"/>
                  </a:lnTo>
                  <a:lnTo>
                    <a:pt x="110" y="122"/>
                  </a:lnTo>
                  <a:lnTo>
                    <a:pt x="111" y="124"/>
                  </a:lnTo>
                  <a:lnTo>
                    <a:pt x="96" y="124"/>
                  </a:lnTo>
                  <a:lnTo>
                    <a:pt x="95" y="121"/>
                  </a:lnTo>
                  <a:lnTo>
                    <a:pt x="93" y="116"/>
                  </a:lnTo>
                  <a:lnTo>
                    <a:pt x="92" y="110"/>
                  </a:lnTo>
                  <a:lnTo>
                    <a:pt x="92" y="103"/>
                  </a:lnTo>
                  <a:lnTo>
                    <a:pt x="89" y="97"/>
                  </a:lnTo>
                  <a:lnTo>
                    <a:pt x="87" y="92"/>
                  </a:lnTo>
                  <a:lnTo>
                    <a:pt x="83" y="89"/>
                  </a:lnTo>
                  <a:lnTo>
                    <a:pt x="78" y="88"/>
                  </a:lnTo>
                  <a:lnTo>
                    <a:pt x="72" y="86"/>
                  </a:lnTo>
                  <a:lnTo>
                    <a:pt x="63" y="86"/>
                  </a:lnTo>
                  <a:lnTo>
                    <a:pt x="63" y="124"/>
                  </a:lnTo>
                  <a:lnTo>
                    <a:pt x="48" y="124"/>
                  </a:lnTo>
                  <a:lnTo>
                    <a:pt x="48" y="38"/>
                  </a:lnTo>
                  <a:lnTo>
                    <a:pt x="60" y="36"/>
                  </a:lnTo>
                  <a:lnTo>
                    <a:pt x="74" y="35"/>
                  </a:lnTo>
                  <a:close/>
                  <a:moveTo>
                    <a:pt x="77" y="12"/>
                  </a:moveTo>
                  <a:lnTo>
                    <a:pt x="57" y="17"/>
                  </a:lnTo>
                  <a:lnTo>
                    <a:pt x="40" y="26"/>
                  </a:lnTo>
                  <a:lnTo>
                    <a:pt x="27" y="39"/>
                  </a:lnTo>
                  <a:lnTo>
                    <a:pt x="18" y="57"/>
                  </a:lnTo>
                  <a:lnTo>
                    <a:pt x="15" y="79"/>
                  </a:lnTo>
                  <a:lnTo>
                    <a:pt x="18" y="100"/>
                  </a:lnTo>
                  <a:lnTo>
                    <a:pt x="27" y="118"/>
                  </a:lnTo>
                  <a:lnTo>
                    <a:pt x="40" y="133"/>
                  </a:lnTo>
                  <a:lnTo>
                    <a:pt x="57" y="142"/>
                  </a:lnTo>
                  <a:lnTo>
                    <a:pt x="78" y="145"/>
                  </a:lnTo>
                  <a:lnTo>
                    <a:pt x="98" y="142"/>
                  </a:lnTo>
                  <a:lnTo>
                    <a:pt x="114" y="133"/>
                  </a:lnTo>
                  <a:lnTo>
                    <a:pt x="128" y="118"/>
                  </a:lnTo>
                  <a:lnTo>
                    <a:pt x="137" y="100"/>
                  </a:lnTo>
                  <a:lnTo>
                    <a:pt x="140" y="79"/>
                  </a:lnTo>
                  <a:lnTo>
                    <a:pt x="137" y="57"/>
                  </a:lnTo>
                  <a:lnTo>
                    <a:pt x="128" y="39"/>
                  </a:lnTo>
                  <a:lnTo>
                    <a:pt x="114" y="26"/>
                  </a:lnTo>
                  <a:lnTo>
                    <a:pt x="98" y="17"/>
                  </a:lnTo>
                  <a:lnTo>
                    <a:pt x="78" y="12"/>
                  </a:lnTo>
                  <a:lnTo>
                    <a:pt x="77" y="12"/>
                  </a:lnTo>
                  <a:close/>
                  <a:moveTo>
                    <a:pt x="77" y="0"/>
                  </a:moveTo>
                  <a:lnTo>
                    <a:pt x="78" y="0"/>
                  </a:lnTo>
                  <a:lnTo>
                    <a:pt x="102" y="5"/>
                  </a:lnTo>
                  <a:lnTo>
                    <a:pt x="123" y="15"/>
                  </a:lnTo>
                  <a:lnTo>
                    <a:pt x="140" y="33"/>
                  </a:lnTo>
                  <a:lnTo>
                    <a:pt x="151" y="54"/>
                  </a:lnTo>
                  <a:lnTo>
                    <a:pt x="154" y="79"/>
                  </a:lnTo>
                  <a:lnTo>
                    <a:pt x="151" y="104"/>
                  </a:lnTo>
                  <a:lnTo>
                    <a:pt x="140" y="125"/>
                  </a:lnTo>
                  <a:lnTo>
                    <a:pt x="123" y="142"/>
                  </a:lnTo>
                  <a:lnTo>
                    <a:pt x="102" y="154"/>
                  </a:lnTo>
                  <a:lnTo>
                    <a:pt x="77" y="157"/>
                  </a:lnTo>
                  <a:lnTo>
                    <a:pt x="52" y="154"/>
                  </a:lnTo>
                  <a:lnTo>
                    <a:pt x="31" y="142"/>
                  </a:lnTo>
                  <a:lnTo>
                    <a:pt x="15" y="125"/>
                  </a:lnTo>
                  <a:lnTo>
                    <a:pt x="4" y="104"/>
                  </a:lnTo>
                  <a:lnTo>
                    <a:pt x="0" y="79"/>
                  </a:lnTo>
                  <a:lnTo>
                    <a:pt x="4" y="54"/>
                  </a:lnTo>
                  <a:lnTo>
                    <a:pt x="15" y="33"/>
                  </a:lnTo>
                  <a:lnTo>
                    <a:pt x="31" y="15"/>
                  </a:lnTo>
                  <a:lnTo>
                    <a:pt x="52" y="5"/>
                  </a:lnTo>
                  <a:lnTo>
                    <a:pt x="7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51" name="Group 50"/>
          <p:cNvGrpSpPr/>
          <p:nvPr userDrawn="1"/>
        </p:nvGrpSpPr>
        <p:grpSpPr>
          <a:xfrm>
            <a:off x="5643342" y="5868538"/>
            <a:ext cx="959908" cy="316031"/>
            <a:chOff x="2811438" y="723330"/>
            <a:chExt cx="4566368" cy="1503387"/>
          </a:xfrm>
        </p:grpSpPr>
        <p:pic>
          <p:nvPicPr>
            <p:cNvPr id="5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Rectangle 82">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84" name="Rectangle 83">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85" name="Rectangle 84">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
        <p:nvSpPr>
          <p:cNvPr id="41" name="TextBox 40"/>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a:solidFill>
                  <a:srgbClr val="FFFFFF"/>
                </a:solidFill>
              </a:rPr>
              <a:t>©2019 </a:t>
            </a:r>
            <a:r>
              <a:rPr lang="en-US" sz="900" dirty="0">
                <a:solidFill>
                  <a:srgbClr val="FFFFFF"/>
                </a:solidFill>
              </a:rPr>
              <a:t>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Tree>
    <p:extLst>
      <p:ext uri="{BB962C8B-B14F-4D97-AF65-F5344CB8AC3E}">
        <p14:creationId xmlns:p14="http://schemas.microsoft.com/office/powerpoint/2010/main" val="182137947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00CFD-D30C-487D-9812-8F40618934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40C455-A265-489D-BB2D-49A5803584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48236-8553-4C4B-9261-C1C04D8A4D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E37FA2-980E-4122-8BAF-EBB958FD67CD}"/>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6" name="Footer Placeholder 5">
            <a:extLst>
              <a:ext uri="{FF2B5EF4-FFF2-40B4-BE49-F238E27FC236}">
                <a16:creationId xmlns:a16="http://schemas.microsoft.com/office/drawing/2014/main" id="{99859039-3661-4ED9-8D87-D3C0887C30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0FDB8A-1A91-4A9C-AA7E-8096D5635566}"/>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30838743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24203-56A7-4698-AB1A-5E6C0CD742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620403-80D2-4889-8C79-597BC52201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CE06AB-E3B9-4343-9684-8EC56CE250B3}"/>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56FED91E-CA56-4725-A70E-7ED8A1DD03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9EE996-AD5B-4B83-9E4A-9303D5E81772}"/>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1623910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075C7-162E-47EE-BAA0-5DCF3B0430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DCEF908-7D96-4842-87D0-1DA21FEDE2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999D7E-C356-4250-9622-A67D16233D4D}"/>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D977F3C7-8475-4C1C-902B-9C43FE05BC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94CE7-EA67-42FC-B8F7-629F8AF9E4BF}"/>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18938450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24203-56A7-4698-AB1A-5E6C0CD742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620403-80D2-4889-8C79-597BC52201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CE06AB-E3B9-4343-9684-8EC56CE250B3}"/>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56FED91E-CA56-4725-A70E-7ED8A1DD03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9EE996-AD5B-4B83-9E4A-9303D5E81772}"/>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5002487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CF6EA-F3FC-4191-AC96-BC3EC13B8A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3900F3-484B-4800-9158-E1F10FD896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540490D-7E94-4317-9423-636931EA8F39}"/>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67611CED-8FA6-4681-8CB0-4A0A12803B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2A84C0-D48F-4F8D-A0CA-2ED880B61B9B}"/>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3722711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Bullet Content - No Orange">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dirty="0"/>
              <a:t>Click to edit Master title style</a:t>
            </a:r>
          </a:p>
        </p:txBody>
      </p:sp>
      <p:sp>
        <p:nvSpPr>
          <p:cNvPr id="8" name="Text Placeholder 7"/>
          <p:cNvSpPr>
            <a:spLocks noGrp="1"/>
          </p:cNvSpPr>
          <p:nvPr>
            <p:ph type="body" sz="quarter" idx="10"/>
          </p:nvPr>
        </p:nvSpPr>
        <p:spPr>
          <a:xfrm>
            <a:off x="599401" y="1481142"/>
            <a:ext cx="10991850" cy="4156075"/>
          </a:xfrm>
        </p:spPr>
        <p:txBody>
          <a:bodyPr>
            <a:noAutofit/>
          </a:bodyPr>
          <a:lstStyle>
            <a:lvl1pPr>
              <a:buClr>
                <a:schemeClr val="accent1"/>
              </a:buClr>
              <a:defRPr>
                <a:solidFill>
                  <a:schemeClr val="tx1"/>
                </a:solidFill>
              </a:defRPr>
            </a:lvl1pPr>
            <a:lvl2pPr marL="338328" indent="-174625">
              <a:buClr>
                <a:schemeClr val="accent1"/>
              </a:buClr>
              <a:buFont typeface="Arial" panose="020B0604020202020204" pitchFamily="34" charset="0"/>
              <a:buChar char="•"/>
              <a:defRPr/>
            </a:lvl2pPr>
            <a:lvl3pPr marL="509588" indent="-161925">
              <a:buClr>
                <a:schemeClr val="accent1"/>
              </a:buClr>
              <a:buFont typeface="Arial" panose="020B0604020202020204" pitchFamily="34" charset="0"/>
              <a:buChar char="•"/>
              <a:defRPr/>
            </a:lvl3pPr>
            <a:lvl4pPr marL="685800" indent="-173736">
              <a:buClr>
                <a:schemeClr val="accent1"/>
              </a:buClr>
              <a:buFont typeface="Arial" panose="020B0604020202020204" pitchFamily="34" charset="0"/>
              <a:buChar char="•"/>
              <a:defRPr/>
            </a:lvl4pPr>
          </a:lstStyle>
          <a:p>
            <a:pPr lvl="0"/>
            <a:r>
              <a:rPr lang="en-US" dirty="0"/>
              <a:t>Click to edit Master text styles</a:t>
            </a:r>
          </a:p>
          <a:p>
            <a:pPr lvl="0"/>
            <a:r>
              <a:rPr lang="en-US" dirty="0"/>
              <a:t>Second level</a:t>
            </a:r>
          </a:p>
          <a:p>
            <a:pPr lvl="0"/>
            <a:r>
              <a:rPr lang="en-US" dirty="0"/>
              <a:t>Third level</a:t>
            </a:r>
          </a:p>
          <a:p>
            <a:pPr lvl="0"/>
            <a:r>
              <a:rPr lang="en-US" dirty="0"/>
              <a:t>Fourth level</a:t>
            </a:r>
          </a:p>
        </p:txBody>
      </p:sp>
    </p:spTree>
    <p:extLst>
      <p:ext uri="{BB962C8B-B14F-4D97-AF65-F5344CB8AC3E}">
        <p14:creationId xmlns:p14="http://schemas.microsoft.com/office/powerpoint/2010/main" val="1537694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00CFD-D30C-487D-9812-8F40618934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40C455-A265-489D-BB2D-49A5803584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48236-8553-4C4B-9261-C1C04D8A4D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E37FA2-980E-4122-8BAF-EBB958FD67CD}"/>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6" name="Footer Placeholder 5">
            <a:extLst>
              <a:ext uri="{FF2B5EF4-FFF2-40B4-BE49-F238E27FC236}">
                <a16:creationId xmlns:a16="http://schemas.microsoft.com/office/drawing/2014/main" id="{99859039-3661-4ED9-8D87-D3C0887C30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0FDB8A-1A91-4A9C-AA7E-8096D5635566}"/>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13755535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53BFB-A8BC-44E3-8302-0AAD0EDFA57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F29E5E-A9CA-4369-8DE4-B704BC7898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85F0871-2665-4EF1-8F06-2E1594BE5C1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343B7E5-86F6-45A5-A920-F2D13F3FA9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026265C-B468-4CC3-BE0D-72BEEFF21F4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C7BE18E-1FBA-455D-A526-E2322B2E924B}"/>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8" name="Footer Placeholder 7">
            <a:extLst>
              <a:ext uri="{FF2B5EF4-FFF2-40B4-BE49-F238E27FC236}">
                <a16:creationId xmlns:a16="http://schemas.microsoft.com/office/drawing/2014/main" id="{779443AD-86AF-4245-B9C9-4920528E76C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9D38989-AE4A-48C2-8F6E-8B1E6C5972AA}"/>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4453431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29C2E-AEAA-44CE-B553-2F3793640B8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FEEACC3-B748-4E5A-A375-A06BD09E3A02}"/>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4" name="Footer Placeholder 3">
            <a:extLst>
              <a:ext uri="{FF2B5EF4-FFF2-40B4-BE49-F238E27FC236}">
                <a16:creationId xmlns:a16="http://schemas.microsoft.com/office/drawing/2014/main" id="{838182C8-D4C2-4C81-B265-FE2899A0AF3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C93E240-1187-41D0-AE6E-C791C7B89877}"/>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693564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DC1E01-9F4E-4359-A9D0-9E4CF94880CD}"/>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3" name="Footer Placeholder 2">
            <a:extLst>
              <a:ext uri="{FF2B5EF4-FFF2-40B4-BE49-F238E27FC236}">
                <a16:creationId xmlns:a16="http://schemas.microsoft.com/office/drawing/2014/main" id="{E9C0B700-E2C6-42BE-B7A5-C78AFDC7E2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0EFF2B-BB81-443A-ACFE-0D019F3D6B5F}"/>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758739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D5D82-1B48-448F-8E86-E1239F45DD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606025-7F97-40E3-94EA-E293BE9256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9259F20-C988-4AC7-8D1D-ACEB0CA123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534EA3-C52D-4C8C-9AB5-C4247E8A2D25}"/>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6" name="Footer Placeholder 5">
            <a:extLst>
              <a:ext uri="{FF2B5EF4-FFF2-40B4-BE49-F238E27FC236}">
                <a16:creationId xmlns:a16="http://schemas.microsoft.com/office/drawing/2014/main" id="{0E74AB7B-D4F0-4F30-B68C-BDA52EF519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CF29FD-3AF7-4EFE-80EA-CD1026DD8FD5}"/>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30239572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1FEC0-AF5F-4762-9E27-C6060FAEF4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0ED412-C30D-4DF6-993E-45E1A78081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CABE01A-9B9C-4EFF-AEE1-C36DA07546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342F07-20D7-49BE-88E3-5D9745BED1FB}"/>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6" name="Footer Placeholder 5">
            <a:extLst>
              <a:ext uri="{FF2B5EF4-FFF2-40B4-BE49-F238E27FC236}">
                <a16:creationId xmlns:a16="http://schemas.microsoft.com/office/drawing/2014/main" id="{13D87A04-FAA9-4F18-9B0E-839D6DD714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CFF8B6-498C-4994-A88D-56C4E775F15E}"/>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19715973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291E3-F77A-41BB-B5C1-DB5A96E980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2DEAA8-9D26-4B04-B970-840AD4A007A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D896E1-520F-4B2E-8BE5-954B02AF48A8}"/>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C67D4D6A-DE26-4F4A-88D3-39848B39BD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A5937-3773-485D-B264-CF2AD1B91C69}"/>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25178684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3E36F9-9E83-4AD2-BCC4-C4102FD0FD3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BB0980-2A04-48DC-8C27-ED914695B26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DE6458-3944-4062-9A1F-BD9DC4386F09}"/>
              </a:ext>
            </a:extLst>
          </p:cNvPr>
          <p:cNvSpPr>
            <a:spLocks noGrp="1"/>
          </p:cNvSpPr>
          <p:nvPr>
            <p:ph type="dt" sz="half" idx="10"/>
          </p:nvPr>
        </p:nvSpPr>
        <p:spPr/>
        <p:txBody>
          <a:body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DFB583F9-D7C7-48F8-8A6F-FE86850726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34FD34-E58A-45C8-8E85-22624A19DD0E}"/>
              </a:ext>
            </a:extLst>
          </p:cNvPr>
          <p:cNvSpPr>
            <a:spLocks noGrp="1"/>
          </p:cNvSpPr>
          <p:nvPr>
            <p:ph type="sldNum" sz="quarter" idx="12"/>
          </p:nvPr>
        </p:nvSpPr>
        <p:spPr/>
        <p:txBody>
          <a:bodyPr/>
          <a:lstStyle/>
          <a:p>
            <a:fld id="{CE2346F4-54B2-4749-9CE0-823DFC316FC7}" type="slidenum">
              <a:rPr lang="en-US" smtClean="0"/>
              <a:t>‹#›</a:t>
            </a:fld>
            <a:endParaRPr lang="en-US"/>
          </a:p>
        </p:txBody>
      </p:sp>
    </p:spTree>
    <p:extLst>
      <p:ext uri="{BB962C8B-B14F-4D97-AF65-F5344CB8AC3E}">
        <p14:creationId xmlns:p14="http://schemas.microsoft.com/office/powerpoint/2010/main" val="7799777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926947" y="1610796"/>
            <a:ext cx="5009829"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7"/>
          <p:cNvSpPr>
            <a:spLocks noGrp="1"/>
          </p:cNvSpPr>
          <p:nvPr>
            <p:ph type="body" sz="quarter" idx="11"/>
          </p:nvPr>
        </p:nvSpPr>
        <p:spPr>
          <a:xfrm>
            <a:off x="6235926" y="1610796"/>
            <a:ext cx="5009829"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885990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2501996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600075" y="941245"/>
            <a:ext cx="10991850" cy="498475"/>
          </a:xfrm>
        </p:spPr>
        <p:txBody>
          <a:bodyPr/>
          <a:lstStyle>
            <a:lvl1pPr marL="0" indent="0" algn="ctr">
              <a:buFontTx/>
              <a:buNone/>
              <a:defRPr sz="2400"/>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Click to edit Subtitle here</a:t>
            </a:r>
          </a:p>
        </p:txBody>
      </p:sp>
    </p:spTree>
    <p:extLst>
      <p:ext uri="{BB962C8B-B14F-4D97-AF65-F5344CB8AC3E}">
        <p14:creationId xmlns:p14="http://schemas.microsoft.com/office/powerpoint/2010/main" val="2915547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825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3" name="Rectangle 2"/>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FFFFFF"/>
              </a:solidFill>
            </a:endParaRPr>
          </a:p>
        </p:txBody>
      </p:sp>
    </p:spTree>
    <p:extLst>
      <p:ext uri="{BB962C8B-B14F-4D97-AF65-F5344CB8AC3E}">
        <p14:creationId xmlns:p14="http://schemas.microsoft.com/office/powerpoint/2010/main" val="1589103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grpSp>
        <p:nvGrpSpPr>
          <p:cNvPr id="39" name="Group 38"/>
          <p:cNvGrpSpPr/>
          <p:nvPr userDrawn="1"/>
        </p:nvGrpSpPr>
        <p:grpSpPr>
          <a:xfrm>
            <a:off x="1" y="1"/>
            <a:ext cx="12192000" cy="3705308"/>
            <a:chOff x="1" y="0"/>
            <a:chExt cx="12192000" cy="2631883"/>
          </a:xfrm>
        </p:grpSpPr>
        <p:sp>
          <p:nvSpPr>
            <p:cNvPr id="40" name="Shape 516"/>
            <p:cNvSpPr/>
            <p:nvPr/>
          </p:nvSpPr>
          <p:spPr>
            <a:xfrm>
              <a:off x="1" y="1"/>
              <a:ext cx="12192000" cy="2631882"/>
            </a:xfrm>
            <a:custGeom>
              <a:avLst/>
              <a:gdLst/>
              <a:ahLst/>
              <a:cxnLst/>
              <a:rect l="0" t="0" r="0" b="0"/>
              <a:pathLst>
                <a:path w="120000" h="120000" extrusionOk="0">
                  <a:moveTo>
                    <a:pt x="0" y="0"/>
                  </a:moveTo>
                  <a:lnTo>
                    <a:pt x="120000" y="0"/>
                  </a:lnTo>
                  <a:lnTo>
                    <a:pt x="120000" y="88902"/>
                  </a:lnTo>
                  <a:lnTo>
                    <a:pt x="71600" y="115370"/>
                  </a:lnTo>
                  <a:cubicBezTo>
                    <a:pt x="60294" y="121936"/>
                    <a:pt x="59938" y="121301"/>
                    <a:pt x="48233" y="114834"/>
                  </a:cubicBezTo>
                  <a:lnTo>
                    <a:pt x="0" y="88902"/>
                  </a:lnTo>
                  <a:close/>
                </a:path>
              </a:pathLst>
            </a:cu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sp>
          <p:nvSpPr>
            <p:cNvPr id="41" name="Shape 377"/>
            <p:cNvSpPr/>
            <p:nvPr/>
          </p:nvSpPr>
          <p:spPr>
            <a:xfrm>
              <a:off x="4634820" y="0"/>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grpSp>
      <p:sp>
        <p:nvSpPr>
          <p:cNvPr id="42" name="Title 1"/>
          <p:cNvSpPr>
            <a:spLocks noGrp="1"/>
          </p:cNvSpPr>
          <p:nvPr>
            <p:ph type="title" hasCustomPrompt="1"/>
          </p:nvPr>
        </p:nvSpPr>
        <p:spPr>
          <a:xfrm>
            <a:off x="599401" y="767493"/>
            <a:ext cx="10993200" cy="1026845"/>
          </a:xfrm>
        </p:spPr>
        <p:txBody>
          <a:bodyPr anchor="b"/>
          <a:lstStyle>
            <a:lvl1pPr>
              <a:defRPr sz="4400" baseline="0">
                <a:solidFill>
                  <a:schemeClr val="bg1"/>
                </a:solidFill>
              </a:defRPr>
            </a:lvl1pPr>
          </a:lstStyle>
          <a:p>
            <a:r>
              <a:rPr lang="en-US" dirty="0"/>
              <a:t>Transition Title</a:t>
            </a:r>
            <a:br>
              <a:rPr lang="en-US" dirty="0"/>
            </a:br>
            <a:r>
              <a:rPr lang="en-US" dirty="0"/>
              <a:t>Line Two Transition Title</a:t>
            </a:r>
          </a:p>
        </p:txBody>
      </p:sp>
      <p:sp>
        <p:nvSpPr>
          <p:cNvPr id="48" name="Text Placeholder 47"/>
          <p:cNvSpPr>
            <a:spLocks noGrp="1"/>
          </p:cNvSpPr>
          <p:nvPr>
            <p:ph type="body" sz="quarter" idx="10" hasCustomPrompt="1"/>
          </p:nvPr>
        </p:nvSpPr>
        <p:spPr>
          <a:xfrm>
            <a:off x="600075" y="1947863"/>
            <a:ext cx="10991850" cy="850900"/>
          </a:xfrm>
        </p:spPr>
        <p:txBody>
          <a:bodyPr/>
          <a:lstStyle>
            <a:lvl1pPr marL="0" indent="0" algn="ctr">
              <a:buFontTx/>
              <a:buNone/>
              <a:defRPr baseline="0">
                <a:solidFill>
                  <a:schemeClr val="bg1"/>
                </a:solidFill>
              </a:defRPr>
            </a:lvl1pPr>
            <a:lvl2pPr marL="163703" indent="0" algn="ctr">
              <a:buFontTx/>
              <a:buNone/>
              <a:defRPr>
                <a:solidFill>
                  <a:schemeClr val="bg1"/>
                </a:solidFill>
              </a:defRPr>
            </a:lvl2pPr>
            <a:lvl3pPr marL="347663" indent="0" algn="ctr">
              <a:buFontTx/>
              <a:buNone/>
              <a:defRPr>
                <a:solidFill>
                  <a:schemeClr val="bg1"/>
                </a:solidFill>
              </a:defRPr>
            </a:lvl3pPr>
            <a:lvl4pPr marL="512064" indent="0" algn="ctr">
              <a:buFontTx/>
              <a:buNone/>
              <a:defRPr>
                <a:solidFill>
                  <a:schemeClr val="bg1"/>
                </a:solidFill>
              </a:defRPr>
            </a:lvl4pPr>
            <a:lvl5pPr marL="0" indent="0" algn="ctr">
              <a:buFontTx/>
              <a:buNone/>
              <a:defRPr>
                <a:solidFill>
                  <a:schemeClr val="bg1"/>
                </a:solidFill>
              </a:defRPr>
            </a:lvl5pPr>
          </a:lstStyle>
          <a:p>
            <a:pPr lvl="0"/>
            <a:r>
              <a:rPr lang="en-US" dirty="0"/>
              <a:t>Subtitle goes here</a:t>
            </a:r>
          </a:p>
        </p:txBody>
      </p:sp>
      <p:sp>
        <p:nvSpPr>
          <p:cNvPr id="9" name="Text Placeholder 7"/>
          <p:cNvSpPr>
            <a:spLocks noGrp="1"/>
          </p:cNvSpPr>
          <p:nvPr>
            <p:ph type="body" sz="quarter" idx="11" hasCustomPrompt="1"/>
          </p:nvPr>
        </p:nvSpPr>
        <p:spPr bwMode="gray">
          <a:xfrm>
            <a:off x="2936511" y="4614523"/>
            <a:ext cx="6294824" cy="511205"/>
          </a:xfrm>
        </p:spPr>
        <p:txBody>
          <a:bodyPr>
            <a:noAutofit/>
          </a:bodyPr>
          <a:lstStyle>
            <a:lvl1pPr marL="0" indent="0" algn="ctr">
              <a:spcBef>
                <a:spcPts val="0"/>
              </a:spcBef>
              <a:spcAft>
                <a:spcPts val="600"/>
              </a:spcAft>
              <a:buFont typeface="Microsoft Sans Serif" panose="020B0604020202020204" pitchFamily="34" charset="0"/>
              <a:buChar char="​"/>
              <a:defRPr sz="28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ctr">
              <a:lnSpc>
                <a:spcPct val="98000"/>
              </a:lnSpc>
              <a:spcBef>
                <a:spcPts val="0"/>
              </a:spcBef>
              <a:buFont typeface="Microsoft Sans Serif" panose="020B0604020202020204" pitchFamily="34" charset="0"/>
              <a:buNone/>
              <a:defRPr sz="22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endParaRPr lang="en-US" dirty="0"/>
          </a:p>
        </p:txBody>
      </p:sp>
      <p:sp>
        <p:nvSpPr>
          <p:cNvPr id="10" name="Text Placeholder 7"/>
          <p:cNvSpPr>
            <a:spLocks noGrp="1"/>
          </p:cNvSpPr>
          <p:nvPr>
            <p:ph type="body" sz="quarter" idx="16" hasCustomPrompt="1"/>
          </p:nvPr>
        </p:nvSpPr>
        <p:spPr bwMode="gray">
          <a:xfrm>
            <a:off x="2936511" y="5125923"/>
            <a:ext cx="6294824" cy="445532"/>
          </a:xfrm>
        </p:spPr>
        <p:txBody>
          <a:bodyPr>
            <a:noAutofit/>
          </a:bodyPr>
          <a:lstStyle>
            <a:lvl1pPr marL="0" indent="0" algn="ctr">
              <a:spcBef>
                <a:spcPts val="0"/>
              </a:spcBef>
              <a:spcAft>
                <a:spcPts val="600"/>
              </a:spcAft>
              <a:buFont typeface="Microsoft Sans Serif" panose="020B0604020202020204" pitchFamily="34" charset="0"/>
              <a:buChar char="​"/>
              <a:defRPr sz="24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ctr">
              <a:lnSpc>
                <a:spcPct val="98000"/>
              </a:lnSpc>
              <a:spcBef>
                <a:spcPts val="0"/>
              </a:spcBef>
              <a:buFont typeface="Microsoft Sans Serif" panose="020B0604020202020204" pitchFamily="34" charset="0"/>
              <a:buNone/>
              <a:defRPr sz="18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title</a:t>
            </a:r>
          </a:p>
          <a:p>
            <a:pPr lvl="1"/>
            <a:endParaRPr lang="en-US" dirty="0"/>
          </a:p>
        </p:txBody>
      </p:sp>
    </p:spTree>
    <p:extLst>
      <p:ext uri="{BB962C8B-B14F-4D97-AF65-F5344CB8AC3E}">
        <p14:creationId xmlns:p14="http://schemas.microsoft.com/office/powerpoint/2010/main" val="2800953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400" y="432274"/>
            <a:ext cx="10993200" cy="952974"/>
          </a:xfrm>
          <a:prstGeom prst="rect">
            <a:avLst/>
          </a:prstGeom>
        </p:spPr>
        <p:txBody>
          <a:bodyPr vert="horz" wrap="square" lIns="0" tIns="0" rIns="0" bIns="0" rtlCol="0" anchor="t">
            <a:noAutofit/>
          </a:bodyPr>
          <a:lstStyle/>
          <a:p>
            <a:r>
              <a:rPr lang="en-US" dirty="0"/>
              <a:t>Click to edit Master title style</a:t>
            </a:r>
          </a:p>
        </p:txBody>
      </p:sp>
      <p:sp>
        <p:nvSpPr>
          <p:cNvPr id="6" name="TextBox 5"/>
          <p:cNvSpPr txBox="1"/>
          <p:nvPr/>
        </p:nvSpPr>
        <p:spPr>
          <a:xfrm>
            <a:off x="10831347" y="6449921"/>
            <a:ext cx="713422" cy="230832"/>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algn="r">
              <a:lnSpc>
                <a:spcPct val="125000"/>
              </a:lnSpc>
            </a:pPr>
            <a:fld id="{B01BFD70-D99E-427C-A01B-19B2BB56A3C8}" type="slidenum">
              <a:rPr lang="en-US" sz="1200" smtClean="0">
                <a:solidFill>
                  <a:srgbClr val="000000">
                    <a:lumMod val="50000"/>
                    <a:lumOff val="50000"/>
                  </a:srgbClr>
                </a:solidFill>
              </a:rPr>
              <a:pPr algn="r">
                <a:lnSpc>
                  <a:spcPct val="125000"/>
                </a:lnSpc>
              </a:pPr>
              <a:t>‹#›</a:t>
            </a:fld>
            <a:endParaRPr lang="en-US" sz="1200" dirty="0">
              <a:solidFill>
                <a:srgbClr val="000000">
                  <a:lumMod val="50000"/>
                  <a:lumOff val="50000"/>
                </a:srgbClr>
              </a:solidFill>
            </a:endParaRPr>
          </a:p>
        </p:txBody>
      </p:sp>
      <p:sp>
        <p:nvSpPr>
          <p:cNvPr id="12" name="Text Placeholder 11"/>
          <p:cNvSpPr>
            <a:spLocks noGrp="1"/>
          </p:cNvSpPr>
          <p:nvPr>
            <p:ph type="body" idx="1"/>
          </p:nvPr>
        </p:nvSpPr>
        <p:spPr>
          <a:xfrm>
            <a:off x="599401" y="1481142"/>
            <a:ext cx="10993200" cy="417908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5" name="Group 4"/>
          <p:cNvGrpSpPr/>
          <p:nvPr/>
        </p:nvGrpSpPr>
        <p:grpSpPr>
          <a:xfrm>
            <a:off x="651760" y="6127845"/>
            <a:ext cx="880164" cy="507267"/>
            <a:chOff x="1768475" y="3789363"/>
            <a:chExt cx="3098800" cy="1785938"/>
          </a:xfrm>
        </p:grpSpPr>
        <p:sp>
          <p:nvSpPr>
            <p:cNvPr id="7"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Shape 377"/>
          <p:cNvSpPr/>
          <p:nvPr/>
        </p:nvSpPr>
        <p:spPr>
          <a:xfrm>
            <a:off x="4956314" y="-2455"/>
            <a:ext cx="2279374" cy="151710"/>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algn="ctr"/>
            <a:endParaRPr sz="2700">
              <a:solidFill>
                <a:srgbClr val="FFFFFF"/>
              </a:solidFill>
              <a:latin typeface="Nunito Light"/>
              <a:ea typeface="Nunito Light"/>
              <a:cs typeface="Nunito Light"/>
              <a:sym typeface="Nunito Light"/>
            </a:endParaRPr>
          </a:p>
        </p:txBody>
      </p:sp>
    </p:spTree>
    <p:extLst>
      <p:ext uri="{BB962C8B-B14F-4D97-AF65-F5344CB8AC3E}">
        <p14:creationId xmlns:p14="http://schemas.microsoft.com/office/powerpoint/2010/main" val="226039133"/>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4" r:id="rId23"/>
    <p:sldLayoutId id="2147484275" r:id="rId24"/>
    <p:sldLayoutId id="2147484288" r:id="rId25"/>
    <p:sldLayoutId id="2147484289" r:id="rId26"/>
  </p:sldLayoutIdLst>
  <p:hf sldNum="0" hdr="0" dt="0"/>
  <p:txStyles>
    <p:titleStyle>
      <a:lvl1pPr algn="ctr" defTabSz="914400" rtl="0" eaLnBrk="1" latinLnBrk="0" hangingPunct="1">
        <a:lnSpc>
          <a:spcPct val="82000"/>
        </a:lnSpc>
        <a:spcBef>
          <a:spcPct val="0"/>
        </a:spcBef>
        <a:buNone/>
        <a:defRPr sz="3800" kern="1200" spc="-40" baseline="0">
          <a:solidFill>
            <a:schemeClr val="tx1">
              <a:lumMod val="85000"/>
              <a:lumOff val="15000"/>
            </a:schemeClr>
          </a:solidFill>
          <a:latin typeface="Calibri" panose="020F0502020204030204" pitchFamily="34" charset="0"/>
          <a:ea typeface="+mj-ea"/>
          <a:cs typeface="Calibri" panose="020F0502020204030204" pitchFamily="34" charset="0"/>
        </a:defRPr>
      </a:lvl1pPr>
    </p:titleStyle>
    <p:bodyStyle>
      <a:lvl1pPr marL="173736" indent="-173736" algn="l" defTabSz="914400" rtl="0" eaLnBrk="1" latinLnBrk="0" hangingPunct="1">
        <a:lnSpc>
          <a:spcPct val="107000"/>
        </a:lnSpc>
        <a:spcBef>
          <a:spcPts val="1200"/>
        </a:spcBef>
        <a:buClr>
          <a:schemeClr val="accent1"/>
        </a:buClr>
        <a:buFont typeface="Arial" panose="020B0604020202020204" pitchFamily="34" charset="0"/>
        <a:buChar char="•"/>
        <a:defRPr sz="3000" kern="1200" baseline="0">
          <a:solidFill>
            <a:schemeClr val="accent1"/>
          </a:solidFill>
          <a:latin typeface="Calibri" panose="020F0502020204030204" pitchFamily="34" charset="0"/>
          <a:ea typeface="+mn-ea"/>
          <a:cs typeface="Calibri" panose="020F0502020204030204" pitchFamily="34" charset="0"/>
        </a:defRPr>
      </a:lvl1pPr>
      <a:lvl2pPr marL="338328" indent="-174625"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400" kern="1200" baseline="0">
          <a:solidFill>
            <a:schemeClr val="tx1">
              <a:lumMod val="85000"/>
              <a:lumOff val="15000"/>
            </a:schemeClr>
          </a:solidFill>
          <a:latin typeface="Calibri" panose="020F0502020204030204" pitchFamily="34" charset="0"/>
          <a:ea typeface="+mn-ea"/>
          <a:cs typeface="Calibri" panose="020F0502020204030204" pitchFamily="34" charset="0"/>
        </a:defRPr>
      </a:lvl2pPr>
      <a:lvl3pPr marL="509588" indent="-161925" algn="l" defTabSz="914400" rtl="0" eaLnBrk="1" latinLnBrk="0" hangingPunct="1">
        <a:lnSpc>
          <a:spcPct val="100000"/>
        </a:lnSpc>
        <a:spcBef>
          <a:spcPts val="0"/>
        </a:spcBef>
        <a:buClr>
          <a:schemeClr val="tx1">
            <a:lumMod val="85000"/>
            <a:lumOff val="15000"/>
          </a:schemeClr>
        </a:buClr>
        <a:buFont typeface="Arial" panose="020B0604020202020204" pitchFamily="34" charset="0"/>
        <a:buChar char="•"/>
        <a:defRPr lang="en-US" sz="2000" kern="1200" dirty="0" smtClean="0">
          <a:solidFill>
            <a:schemeClr val="tx1">
              <a:lumMod val="85000"/>
              <a:lumOff val="15000"/>
            </a:schemeClr>
          </a:solidFill>
          <a:latin typeface="Calibri" panose="020F0502020204030204" pitchFamily="34" charset="0"/>
          <a:ea typeface="+mn-ea"/>
          <a:cs typeface="Calibri" panose="020F0502020204030204" pitchFamily="34" charset="0"/>
        </a:defRPr>
      </a:lvl3pPr>
      <a:lvl4pPr marL="685800" indent="-173736" algn="l" defTabSz="914400" rtl="0" eaLnBrk="1" latinLnBrk="0" hangingPunct="1">
        <a:lnSpc>
          <a:spcPct val="100000"/>
        </a:lnSpc>
        <a:spcBef>
          <a:spcPts val="0"/>
        </a:spcBef>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Calibri" panose="020F0502020204030204" pitchFamily="34" charset="0"/>
          <a:ea typeface="+mn-ea"/>
          <a:cs typeface="Calibri" panose="020F0502020204030204" pitchFamily="34" charset="0"/>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None/>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p15:clr>
            <a:srgbClr val="F26B43"/>
          </p15:clr>
        </p15:guide>
        <p15:guide id="2" pos="309">
          <p15:clr>
            <a:srgbClr val="F26B43"/>
          </p15:clr>
        </p15:guide>
        <p15:guide id="3" orient="horz" pos="1075">
          <p15:clr>
            <a:srgbClr val="F26B43"/>
          </p15:clr>
        </p15:guide>
        <p15:guide id="4" orient="horz" pos="314">
          <p15:clr>
            <a:srgbClr val="F26B43"/>
          </p15:clr>
        </p15:guide>
        <p15:guide id="6" pos="7359">
          <p15:clr>
            <a:srgbClr val="F26B43"/>
          </p15:clr>
        </p15:guide>
        <p15:guide id="7" orient="horz" pos="4181">
          <p15:clr>
            <a:srgbClr val="F26B43"/>
          </p15:clr>
        </p15:guide>
        <p15:guide id="8" orient="horz" pos="571">
          <p15:clr>
            <a:srgbClr val="F26B43"/>
          </p15:clr>
        </p15:guide>
        <p15:guide id="9" pos="33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FEDAA1-095A-4A1B-917D-D91D80A894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BCEA2D-2BE2-4FC7-902A-BE85C19857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A7D078-893C-41E3-8815-9717415361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9C3D46-C560-48C1-BEC7-DF0C5EEF6798}" type="datetimeFigureOut">
              <a:rPr lang="en-US" smtClean="0"/>
              <a:t>12/9/2024</a:t>
            </a:fld>
            <a:endParaRPr lang="en-US"/>
          </a:p>
        </p:txBody>
      </p:sp>
      <p:sp>
        <p:nvSpPr>
          <p:cNvPr id="5" name="Footer Placeholder 4">
            <a:extLst>
              <a:ext uri="{FF2B5EF4-FFF2-40B4-BE49-F238E27FC236}">
                <a16:creationId xmlns:a16="http://schemas.microsoft.com/office/drawing/2014/main" id="{4FF33208-FF00-495A-BDD1-CEFF5DBBD9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29D88C-A6B8-4676-962A-71F3EF1D47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2346F4-54B2-4749-9CE0-823DFC316FC7}" type="slidenum">
              <a:rPr lang="en-US" smtClean="0"/>
              <a:t>‹#›</a:t>
            </a:fld>
            <a:endParaRPr lang="en-US"/>
          </a:p>
        </p:txBody>
      </p:sp>
    </p:spTree>
    <p:extLst>
      <p:ext uri="{BB962C8B-B14F-4D97-AF65-F5344CB8AC3E}">
        <p14:creationId xmlns:p14="http://schemas.microsoft.com/office/powerpoint/2010/main" val="3820198221"/>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abc.austintexas.gov/" TargetMode="Externa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gcc02.safelinks.protection.outlook.com/?url=https%3A%2F%2Fwww.austintexas.gov%2Fdepartment%2Funderstanding-development-process&amp;data=05%7C02%7CCrystal.Taylor%40austinenergy.com%7C246a8fa4d16b43f4574d08dd163f4d25%7C482dc10d91804c99816e70ee2557afd5%7C0%7C0%7C638691183333364546%7CUnknown%7CTWFpbGZsb3d8eyJFbXB0eU1hcGkiOnRydWUsIlYiOiIwLjAuMDAwMCIsIlAiOiJXaW4zMiIsIkFOIjoiTWFpbCIsIldUIjoyfQ%3D%3D%7C0%7C%7C%7C&amp;sdata=drnaWBrRkiWE%2F2Rya3ZhJmBlvpJxB3hOErSIek3Qgf0%3D&amp;reserved=0" TargetMode="Externa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1A534-0C02-4056-BE25-3E4312DB3C99}"/>
              </a:ext>
            </a:extLst>
          </p:cNvPr>
          <p:cNvSpPr>
            <a:spLocks noGrp="1"/>
          </p:cNvSpPr>
          <p:nvPr>
            <p:ph type="ctrTitle"/>
          </p:nvPr>
        </p:nvSpPr>
        <p:spPr/>
        <p:txBody>
          <a:bodyPr/>
          <a:lstStyle/>
          <a:p>
            <a:r>
              <a:rPr lang="en-US" dirty="0"/>
              <a:t>Complete an Intake Request</a:t>
            </a:r>
          </a:p>
        </p:txBody>
      </p:sp>
      <p:sp>
        <p:nvSpPr>
          <p:cNvPr id="5" name="Text Placeholder 4">
            <a:extLst>
              <a:ext uri="{FF2B5EF4-FFF2-40B4-BE49-F238E27FC236}">
                <a16:creationId xmlns:a16="http://schemas.microsoft.com/office/drawing/2014/main" id="{47E7537B-ED4C-4454-848D-E3FB7F70EAEC}"/>
              </a:ext>
            </a:extLst>
          </p:cNvPr>
          <p:cNvSpPr>
            <a:spLocks noGrp="1"/>
          </p:cNvSpPr>
          <p:nvPr>
            <p:ph type="body" sz="quarter" idx="15"/>
          </p:nvPr>
        </p:nvSpPr>
        <p:spPr/>
        <p:txBody>
          <a:bodyPr/>
          <a:lstStyle/>
          <a:p>
            <a:r>
              <a:rPr lang="en-US" dirty="0"/>
              <a:t>Austin Build + Connect (AB+C)</a:t>
            </a:r>
          </a:p>
        </p:txBody>
      </p:sp>
      <p:sp>
        <p:nvSpPr>
          <p:cNvPr id="4" name="Text Placeholder 3">
            <a:extLst>
              <a:ext uri="{FF2B5EF4-FFF2-40B4-BE49-F238E27FC236}">
                <a16:creationId xmlns:a16="http://schemas.microsoft.com/office/drawing/2014/main" id="{C8D304DA-1883-43B9-A387-4C94BD3FD51B}"/>
              </a:ext>
            </a:extLst>
          </p:cNvPr>
          <p:cNvSpPr>
            <a:spLocks noGrp="1"/>
          </p:cNvSpPr>
          <p:nvPr>
            <p:ph type="body" sz="quarter" idx="13"/>
          </p:nvPr>
        </p:nvSpPr>
        <p:spPr/>
        <p:txBody>
          <a:bodyPr>
            <a:normAutofit fontScale="92500" lnSpcReduction="10000"/>
          </a:bodyPr>
          <a:lstStyle/>
          <a:p>
            <a:r>
              <a:rPr lang="en-US" dirty="0"/>
              <a:t>December 9, 2024</a:t>
            </a:r>
          </a:p>
        </p:txBody>
      </p:sp>
    </p:spTree>
    <p:extLst>
      <p:ext uri="{BB962C8B-B14F-4D97-AF65-F5344CB8AC3E}">
        <p14:creationId xmlns:p14="http://schemas.microsoft.com/office/powerpoint/2010/main" val="464135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587125" y="-35551"/>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3: Additional Information</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797975" y="825983"/>
            <a:ext cx="10175630" cy="767904"/>
          </a:xfrm>
        </p:spPr>
        <p:txBody>
          <a:bodyPr vert="horz" lIns="91440" tIns="45720" rIns="91440" bIns="45720" rtlCol="0" anchor="ctr">
            <a:normAutofit/>
          </a:bodyPr>
          <a:lstStyle/>
          <a:p>
            <a:r>
              <a:rPr lang="en-US" sz="1800" dirty="0"/>
              <a:t>From the “</a:t>
            </a:r>
            <a:r>
              <a:rPr lang="en-US" sz="1800" b="1" dirty="0"/>
              <a:t>Submission Type</a:t>
            </a:r>
            <a:r>
              <a:rPr lang="en-US" sz="1800" dirty="0"/>
              <a:t>” drop down, select the best option for your project submission. </a:t>
            </a:r>
          </a:p>
          <a:p>
            <a:endParaRPr lang="en-US" sz="1800" dirty="0"/>
          </a:p>
        </p:txBody>
      </p:sp>
      <p:pic>
        <p:nvPicPr>
          <p:cNvPr id="8" name="Picture 7">
            <a:extLst>
              <a:ext uri="{FF2B5EF4-FFF2-40B4-BE49-F238E27FC236}">
                <a16:creationId xmlns:a16="http://schemas.microsoft.com/office/drawing/2014/main" id="{64901BC9-E256-6C4F-2957-A6286E535779}"/>
              </a:ext>
            </a:extLst>
          </p:cNvPr>
          <p:cNvPicPr>
            <a:picLocks noChangeAspect="1"/>
          </p:cNvPicPr>
          <p:nvPr/>
        </p:nvPicPr>
        <p:blipFill>
          <a:blip r:embed="rId2"/>
          <a:stretch>
            <a:fillRect/>
          </a:stretch>
        </p:blipFill>
        <p:spPr>
          <a:xfrm>
            <a:off x="2423603" y="1312455"/>
            <a:ext cx="7803471" cy="5313534"/>
          </a:xfrm>
          <a:prstGeom prst="rect">
            <a:avLst/>
          </a:prstGeom>
        </p:spPr>
      </p:pic>
      <p:sp>
        <p:nvSpPr>
          <p:cNvPr id="4" name="Left Brace 3">
            <a:extLst>
              <a:ext uri="{FF2B5EF4-FFF2-40B4-BE49-F238E27FC236}">
                <a16:creationId xmlns:a16="http://schemas.microsoft.com/office/drawing/2014/main" id="{C6491690-CC72-CCBA-A356-AF4DCED01BF6}"/>
              </a:ext>
            </a:extLst>
          </p:cNvPr>
          <p:cNvSpPr/>
          <p:nvPr/>
        </p:nvSpPr>
        <p:spPr>
          <a:xfrm>
            <a:off x="2237173" y="5202315"/>
            <a:ext cx="408373" cy="1305017"/>
          </a:xfrm>
          <a:prstGeom prst="leftBrac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47543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642245" y="-35551"/>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3 (</a:t>
            </a:r>
            <a:r>
              <a:rPr lang="en-US" sz="4000" kern="1200" dirty="0" err="1">
                <a:solidFill>
                  <a:schemeClr val="tx1"/>
                </a:solidFill>
                <a:latin typeface="+mj-lt"/>
                <a:ea typeface="+mj-ea"/>
                <a:cs typeface="+mj-cs"/>
              </a:rPr>
              <a:t>Con’t</a:t>
            </a:r>
            <a:r>
              <a:rPr lang="en-US" sz="4000" kern="1200" dirty="0">
                <a:solidFill>
                  <a:schemeClr val="tx1"/>
                </a:solidFill>
                <a:latin typeface="+mj-lt"/>
                <a:ea typeface="+mj-ea"/>
                <a:cs typeface="+mj-cs"/>
              </a:rPr>
              <a:t>) Additional Information</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797975" y="734543"/>
            <a:ext cx="10175630" cy="767904"/>
          </a:xfrm>
        </p:spPr>
        <p:txBody>
          <a:bodyPr vert="horz" lIns="91440" tIns="45720" rIns="91440" bIns="45720" rtlCol="0" anchor="ctr">
            <a:normAutofit/>
          </a:bodyPr>
          <a:lstStyle/>
          <a:p>
            <a:r>
              <a:rPr lang="en-US" sz="1800" dirty="0"/>
              <a:t>From the “</a:t>
            </a:r>
            <a:r>
              <a:rPr lang="en-US" sz="1800" b="1" dirty="0"/>
              <a:t>Service Area</a:t>
            </a:r>
            <a:r>
              <a:rPr lang="en-US" sz="1800" dirty="0"/>
              <a:t>” drop down, select if your project is in North or South Austin.</a:t>
            </a:r>
          </a:p>
        </p:txBody>
      </p:sp>
      <p:pic>
        <p:nvPicPr>
          <p:cNvPr id="5" name="Picture 4">
            <a:extLst>
              <a:ext uri="{FF2B5EF4-FFF2-40B4-BE49-F238E27FC236}">
                <a16:creationId xmlns:a16="http://schemas.microsoft.com/office/drawing/2014/main" id="{418F9F6E-FCE0-911F-DBBD-78B693A9FBDA}"/>
              </a:ext>
            </a:extLst>
          </p:cNvPr>
          <p:cNvPicPr>
            <a:picLocks noChangeAspect="1"/>
          </p:cNvPicPr>
          <p:nvPr/>
        </p:nvPicPr>
        <p:blipFill>
          <a:blip r:embed="rId2"/>
          <a:stretch>
            <a:fillRect/>
          </a:stretch>
        </p:blipFill>
        <p:spPr>
          <a:xfrm>
            <a:off x="1730895" y="1355834"/>
            <a:ext cx="8779449" cy="5363133"/>
          </a:xfrm>
          <a:prstGeom prst="rect">
            <a:avLst/>
          </a:prstGeom>
        </p:spPr>
      </p:pic>
    </p:spTree>
    <p:extLst>
      <p:ext uri="{BB962C8B-B14F-4D97-AF65-F5344CB8AC3E}">
        <p14:creationId xmlns:p14="http://schemas.microsoft.com/office/powerpoint/2010/main" val="33148524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642245" y="-35551"/>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3 (</a:t>
            </a:r>
            <a:r>
              <a:rPr lang="en-US" sz="4000" kern="1200" dirty="0" err="1">
                <a:solidFill>
                  <a:schemeClr val="tx1"/>
                </a:solidFill>
                <a:latin typeface="+mj-lt"/>
                <a:ea typeface="+mj-ea"/>
                <a:cs typeface="+mj-cs"/>
              </a:rPr>
              <a:t>Con’t</a:t>
            </a:r>
            <a:r>
              <a:rPr lang="en-US" sz="4000" kern="1200" dirty="0">
                <a:solidFill>
                  <a:schemeClr val="tx1"/>
                </a:solidFill>
                <a:latin typeface="+mj-lt"/>
                <a:ea typeface="+mj-ea"/>
                <a:cs typeface="+mj-cs"/>
              </a:rPr>
              <a:t>) Additional Information</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215660" y="845387"/>
            <a:ext cx="2941608" cy="3747529"/>
          </a:xfrm>
        </p:spPr>
        <p:txBody>
          <a:bodyPr vert="horz" lIns="91440" tIns="45720" rIns="91440" bIns="45720" rtlCol="0" anchor="ctr">
            <a:normAutofit/>
          </a:bodyPr>
          <a:lstStyle/>
          <a:p>
            <a:r>
              <a:rPr lang="en-US" sz="1800" dirty="0"/>
              <a:t>AE maintains a single point of contact for projects. Please put this person's name and contact information in the “</a:t>
            </a:r>
            <a:r>
              <a:rPr lang="en-US" sz="1800" b="1" dirty="0"/>
              <a:t>Principal Contact</a:t>
            </a:r>
            <a:r>
              <a:rPr lang="en-US" sz="1800" dirty="0"/>
              <a:t>” fields. </a:t>
            </a:r>
          </a:p>
          <a:p>
            <a:r>
              <a:rPr lang="en-US" sz="1800" dirty="0"/>
              <a:t>Click “</a:t>
            </a:r>
            <a:r>
              <a:rPr lang="en-US" sz="1800" b="1" dirty="0"/>
              <a:t>Continue</a:t>
            </a:r>
            <a:r>
              <a:rPr lang="en-US" sz="1800" dirty="0"/>
              <a:t>”. </a:t>
            </a:r>
          </a:p>
        </p:txBody>
      </p:sp>
      <p:pic>
        <p:nvPicPr>
          <p:cNvPr id="8" name="Picture 7">
            <a:extLst>
              <a:ext uri="{FF2B5EF4-FFF2-40B4-BE49-F238E27FC236}">
                <a16:creationId xmlns:a16="http://schemas.microsoft.com/office/drawing/2014/main" id="{4B72B670-AF37-7205-F64D-C4C217038168}"/>
              </a:ext>
            </a:extLst>
          </p:cNvPr>
          <p:cNvPicPr>
            <a:picLocks noChangeAspect="1"/>
          </p:cNvPicPr>
          <p:nvPr/>
        </p:nvPicPr>
        <p:blipFill>
          <a:blip r:embed="rId2"/>
          <a:stretch>
            <a:fillRect/>
          </a:stretch>
        </p:blipFill>
        <p:spPr>
          <a:xfrm>
            <a:off x="3438072" y="1396708"/>
            <a:ext cx="8323843" cy="4900573"/>
          </a:xfrm>
          <a:prstGeom prst="rect">
            <a:avLst/>
          </a:prstGeom>
        </p:spPr>
      </p:pic>
    </p:spTree>
    <p:extLst>
      <p:ext uri="{BB962C8B-B14F-4D97-AF65-F5344CB8AC3E}">
        <p14:creationId xmlns:p14="http://schemas.microsoft.com/office/powerpoint/2010/main" val="3762422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797974" y="734542"/>
            <a:ext cx="4564139" cy="5249007"/>
          </a:xfrm>
        </p:spPr>
        <p:txBody>
          <a:bodyPr vert="horz" lIns="91440" tIns="45720" rIns="91440" bIns="45720" rtlCol="0" anchor="ctr">
            <a:normAutofit/>
          </a:bodyPr>
          <a:lstStyle/>
          <a:p>
            <a:r>
              <a:rPr lang="en-US" sz="1800" dirty="0"/>
              <a:t>Please see the list of required documents per project submission type and attach ALL required documents and enter a description for each attachment.  </a:t>
            </a:r>
          </a:p>
          <a:p>
            <a:r>
              <a:rPr lang="en-US" sz="1800" dirty="0"/>
              <a:t>Please submit your ESPA’s in the fillable/editable format. </a:t>
            </a:r>
          </a:p>
          <a:p>
            <a:r>
              <a:rPr lang="en-US" sz="1800" dirty="0"/>
              <a:t>Click “</a:t>
            </a:r>
            <a:r>
              <a:rPr lang="en-US" sz="1800" b="1" dirty="0"/>
              <a:t>Continue</a:t>
            </a:r>
            <a:r>
              <a:rPr lang="en-US" sz="1800" dirty="0"/>
              <a:t>”.</a:t>
            </a:r>
          </a:p>
        </p:txBody>
      </p:sp>
      <p:pic>
        <p:nvPicPr>
          <p:cNvPr id="5" name="Picture 4">
            <a:extLst>
              <a:ext uri="{FF2B5EF4-FFF2-40B4-BE49-F238E27FC236}">
                <a16:creationId xmlns:a16="http://schemas.microsoft.com/office/drawing/2014/main" id="{5D4DC04D-B3A7-2FBF-1388-82D06AA9BD79}"/>
              </a:ext>
            </a:extLst>
          </p:cNvPr>
          <p:cNvPicPr>
            <a:picLocks noChangeAspect="1"/>
          </p:cNvPicPr>
          <p:nvPr/>
        </p:nvPicPr>
        <p:blipFill>
          <a:blip r:embed="rId2"/>
          <a:stretch>
            <a:fillRect/>
          </a:stretch>
        </p:blipFill>
        <p:spPr>
          <a:xfrm>
            <a:off x="5601806" y="519131"/>
            <a:ext cx="6265279" cy="6197829"/>
          </a:xfrm>
          <a:prstGeom prst="rect">
            <a:avLst/>
          </a:prstGeom>
        </p:spPr>
      </p:pic>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475365" y="-171525"/>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4: Supporting Documents</a:t>
            </a:r>
          </a:p>
        </p:txBody>
      </p:sp>
    </p:spTree>
    <p:extLst>
      <p:ext uri="{BB962C8B-B14F-4D97-AF65-F5344CB8AC3E}">
        <p14:creationId xmlns:p14="http://schemas.microsoft.com/office/powerpoint/2010/main" val="3866384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95205" y="-138060"/>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a:t>
            </a:r>
            <a:r>
              <a:rPr lang="en-US" sz="4000" dirty="0">
                <a:solidFill>
                  <a:schemeClr val="tx1"/>
                </a:solidFill>
                <a:latin typeface="+mj-lt"/>
                <a:cs typeface="+mj-cs"/>
              </a:rPr>
              <a:t>5</a:t>
            </a:r>
            <a:r>
              <a:rPr lang="en-US" sz="4000" kern="1200" dirty="0">
                <a:solidFill>
                  <a:schemeClr val="tx1"/>
                </a:solidFill>
                <a:latin typeface="+mj-lt"/>
                <a:ea typeface="+mj-ea"/>
                <a:cs typeface="+mj-cs"/>
              </a:rPr>
              <a:t>: New Application Summary - Review</a:t>
            </a:r>
          </a:p>
        </p:txBody>
      </p:sp>
      <p:pic>
        <p:nvPicPr>
          <p:cNvPr id="5" name="Picture 4">
            <a:extLst>
              <a:ext uri="{FF2B5EF4-FFF2-40B4-BE49-F238E27FC236}">
                <a16:creationId xmlns:a16="http://schemas.microsoft.com/office/drawing/2014/main" id="{64FCCB57-01FC-4D95-8496-216E57D29AFD}"/>
              </a:ext>
            </a:extLst>
          </p:cNvPr>
          <p:cNvPicPr>
            <a:picLocks noChangeAspect="1"/>
          </p:cNvPicPr>
          <p:nvPr/>
        </p:nvPicPr>
        <p:blipFill>
          <a:blip r:embed="rId2"/>
          <a:stretch>
            <a:fillRect/>
          </a:stretch>
        </p:blipFill>
        <p:spPr>
          <a:xfrm>
            <a:off x="521368" y="1339052"/>
            <a:ext cx="11149264" cy="4516926"/>
          </a:xfrm>
          <a:prstGeom prst="rect">
            <a:avLst/>
          </a:prstGeom>
        </p:spPr>
      </p:pic>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797975" y="734542"/>
            <a:ext cx="4564138" cy="5254601"/>
          </a:xfrm>
        </p:spPr>
        <p:txBody>
          <a:bodyPr vert="horz" lIns="91440" tIns="45720" rIns="91440" bIns="45720" rtlCol="0" anchor="ctr">
            <a:normAutofit/>
          </a:bodyPr>
          <a:lstStyle/>
          <a:p>
            <a:r>
              <a:rPr lang="en-US" sz="1800" dirty="0"/>
              <a:t>Please make sure to click “</a:t>
            </a:r>
            <a:r>
              <a:rPr lang="en-US" sz="1800" b="1" dirty="0"/>
              <a:t>Submit</a:t>
            </a:r>
            <a:r>
              <a:rPr lang="en-US" sz="1800" dirty="0"/>
              <a:t>” on this page and that you get a confirmation email. </a:t>
            </a:r>
          </a:p>
          <a:p>
            <a:r>
              <a:rPr lang="en-US" sz="1800" dirty="0"/>
              <a:t>Please note, at this time, there is no fee to submit a Design Intake entry. </a:t>
            </a:r>
          </a:p>
        </p:txBody>
      </p:sp>
    </p:spTree>
    <p:extLst>
      <p:ext uri="{BB962C8B-B14F-4D97-AF65-F5344CB8AC3E}">
        <p14:creationId xmlns:p14="http://schemas.microsoft.com/office/powerpoint/2010/main" val="2884934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p:txBody>
          <a:bodyPr vert="horz" lIns="91440" tIns="45720" rIns="91440" bIns="45720" rtlCol="0" anchor="ctr">
            <a:normAutofit/>
          </a:bodyPr>
          <a:lstStyle/>
          <a:p>
            <a:pPr algn="l"/>
            <a:r>
              <a:rPr lang="en-US" sz="4000" kern="1200" dirty="0">
                <a:solidFill>
                  <a:schemeClr val="tx1"/>
                </a:solidFill>
                <a:latin typeface="+mj-lt"/>
                <a:ea typeface="+mj-ea"/>
                <a:cs typeface="+mj-cs"/>
              </a:rPr>
              <a:t>Post-Submission Information</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idx="1"/>
          </p:nvPr>
        </p:nvSpPr>
        <p:spPr>
          <a:xfrm>
            <a:off x="838200" y="1690688"/>
            <a:ext cx="10515600" cy="3296881"/>
          </a:xfrm>
        </p:spPr>
        <p:txBody>
          <a:bodyPr vert="horz" lIns="91440" tIns="45720" rIns="91440" bIns="45720" rtlCol="0" anchor="ctr">
            <a:normAutofit/>
          </a:bodyPr>
          <a:lstStyle/>
          <a:p>
            <a:r>
              <a:rPr lang="en-US" sz="1800" dirty="0"/>
              <a:t>An email will be sent to you confirming that your application has been received by Design Intake. As long as you receive this confirmation email, your entry was submitted successfully. </a:t>
            </a:r>
          </a:p>
          <a:p>
            <a:r>
              <a:rPr lang="en-US" sz="1800" dirty="0"/>
              <a:t>Please note the AEAS “Permit” is only used for Design Intake purposes and will close automatically within 90 days after it’s Released to Design once reviewed by Intake staff. You will receive an email telling you the AEAS “permit” has closed in 90 days. This does NOT affect your Design status or place in queue.   </a:t>
            </a:r>
          </a:p>
          <a:p>
            <a:r>
              <a:rPr lang="en-US" sz="1800" dirty="0"/>
              <a:t>Use the information provided in the AB+C Manual tab if you have any questions or need help. </a:t>
            </a:r>
          </a:p>
          <a:p>
            <a:r>
              <a:rPr lang="en-US" sz="1800" dirty="0">
                <a:highlight>
                  <a:srgbClr val="FFFF00"/>
                </a:highlight>
              </a:rPr>
              <a:t>PLEASE NOTE: This process is NOT applying for your Electric Permit.  This is ONLY submitting your project to  AE Design.</a:t>
            </a:r>
          </a:p>
        </p:txBody>
      </p:sp>
    </p:spTree>
    <p:extLst>
      <p:ext uri="{BB962C8B-B14F-4D97-AF65-F5344CB8AC3E}">
        <p14:creationId xmlns:p14="http://schemas.microsoft.com/office/powerpoint/2010/main" val="2634796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077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215704" y="143552"/>
            <a:ext cx="10175631" cy="1111843"/>
          </a:xfrm>
        </p:spPr>
        <p:txBody>
          <a:bodyPr vert="horz" lIns="91440" tIns="45720" rIns="91440" bIns="45720" rtlCol="0" anchor="ctr">
            <a:normAutofit/>
          </a:bodyPr>
          <a:lstStyle/>
          <a:p>
            <a:pPr algn="l"/>
            <a:r>
              <a:rPr lang="en-US" sz="4000" kern="1200" dirty="0">
                <a:solidFill>
                  <a:schemeClr val="tx1"/>
                </a:solidFill>
                <a:latin typeface="+mj-lt"/>
                <a:ea typeface="+mj-ea"/>
                <a:cs typeface="+mj-cs"/>
              </a:rPr>
              <a:t>Register a New Account/Login</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971972" y="1477998"/>
            <a:ext cx="10175630" cy="767904"/>
          </a:xfrm>
        </p:spPr>
        <p:txBody>
          <a:bodyPr vert="horz" lIns="91440" tIns="45720" rIns="91440" bIns="45720" rtlCol="0" anchor="ctr">
            <a:noAutofit/>
          </a:bodyPr>
          <a:lstStyle/>
          <a:p>
            <a:r>
              <a:rPr lang="en-US" sz="1600" dirty="0"/>
              <a:t>Use the City of Austin’s, Austin Build + Connect Portal to submit or check on your permits and fees.</a:t>
            </a:r>
          </a:p>
          <a:p>
            <a:r>
              <a:rPr lang="en-US" sz="1600" dirty="0"/>
              <a:t>You will need to register with the City of Austin online in order submit your Design Intake Request (move to “Apply for Permits/Cases” if you already have a registered account).  To register, go to </a:t>
            </a:r>
            <a:r>
              <a:rPr lang="en-US" sz="1600" dirty="0">
                <a:hlinkClick r:id="rId2"/>
              </a:rPr>
              <a:t>https://abc.austintexas.gov</a:t>
            </a:r>
            <a:r>
              <a:rPr lang="en-US" sz="1600" dirty="0"/>
              <a:t> and click on the “Create Account” link.</a:t>
            </a:r>
          </a:p>
          <a:p>
            <a:pPr algn="ctr"/>
            <a:endParaRPr lang="en-US" sz="1600" dirty="0"/>
          </a:p>
        </p:txBody>
      </p:sp>
      <p:sp>
        <p:nvSpPr>
          <p:cNvPr id="8" name="Flowchart: Terminator 7">
            <a:extLst>
              <a:ext uri="{FF2B5EF4-FFF2-40B4-BE49-F238E27FC236}">
                <a16:creationId xmlns:a16="http://schemas.microsoft.com/office/drawing/2014/main" id="{702D13CF-DD6F-4FBB-9233-3D07360FC3F2}"/>
              </a:ext>
            </a:extLst>
          </p:cNvPr>
          <p:cNvSpPr/>
          <p:nvPr/>
        </p:nvSpPr>
        <p:spPr>
          <a:xfrm>
            <a:off x="9376902" y="5437657"/>
            <a:ext cx="1026369" cy="289249"/>
          </a:xfrm>
          <a:prstGeom prst="flowChartTerminator">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7A6618CF-2D3C-3B4C-B33C-BAA3C971FD04}"/>
              </a:ext>
            </a:extLst>
          </p:cNvPr>
          <p:cNvPicPr>
            <a:picLocks noChangeAspect="1"/>
          </p:cNvPicPr>
          <p:nvPr/>
        </p:nvPicPr>
        <p:blipFill>
          <a:blip r:embed="rId3"/>
          <a:stretch>
            <a:fillRect/>
          </a:stretch>
        </p:blipFill>
        <p:spPr>
          <a:xfrm>
            <a:off x="3204424" y="2069812"/>
            <a:ext cx="8530195" cy="4351338"/>
          </a:xfrm>
          <a:prstGeom prst="rect">
            <a:avLst/>
          </a:prstGeom>
        </p:spPr>
      </p:pic>
    </p:spTree>
    <p:extLst>
      <p:ext uri="{BB962C8B-B14F-4D97-AF65-F5344CB8AC3E}">
        <p14:creationId xmlns:p14="http://schemas.microsoft.com/office/powerpoint/2010/main" val="2680213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34424" y="133392"/>
            <a:ext cx="10175631" cy="1111843"/>
          </a:xfrm>
        </p:spPr>
        <p:txBody>
          <a:bodyPr vert="horz" lIns="91440" tIns="45720" rIns="91440" bIns="45720" rtlCol="0" anchor="ctr">
            <a:normAutofit/>
          </a:bodyPr>
          <a:lstStyle/>
          <a:p>
            <a:pPr algn="l"/>
            <a:r>
              <a:rPr lang="en-US" sz="4000" dirty="0"/>
              <a:t>Quick Tip</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1008184" y="1119007"/>
            <a:ext cx="10175630" cy="767904"/>
          </a:xfrm>
        </p:spPr>
        <p:txBody>
          <a:bodyPr vert="horz" lIns="91440" tIns="45720" rIns="91440" bIns="45720" rtlCol="0" anchor="ctr">
            <a:noAutofit/>
          </a:bodyPr>
          <a:lstStyle/>
          <a:p>
            <a:r>
              <a:rPr lang="en-US" sz="1800" dirty="0"/>
              <a:t>You may want to familiarize yourself with the City’s online process before starting the Design Intake process . Select the AB+C Manual tab (top right of the screen when you’ve logged in). This will give you all the information you need to address your questions regarding navigating permitting and payment options available on Austin Build + Connect. </a:t>
            </a:r>
          </a:p>
        </p:txBody>
      </p:sp>
      <p:pic>
        <p:nvPicPr>
          <p:cNvPr id="6" name="Picture 5">
            <a:extLst>
              <a:ext uri="{FF2B5EF4-FFF2-40B4-BE49-F238E27FC236}">
                <a16:creationId xmlns:a16="http://schemas.microsoft.com/office/drawing/2014/main" id="{6F710ACF-649F-A82F-07E7-22D83062BC2B}"/>
              </a:ext>
            </a:extLst>
          </p:cNvPr>
          <p:cNvPicPr>
            <a:picLocks noChangeAspect="1"/>
          </p:cNvPicPr>
          <p:nvPr/>
        </p:nvPicPr>
        <p:blipFill>
          <a:blip r:embed="rId2"/>
          <a:stretch>
            <a:fillRect/>
          </a:stretch>
        </p:blipFill>
        <p:spPr>
          <a:xfrm>
            <a:off x="965725" y="2291232"/>
            <a:ext cx="10218090" cy="3692430"/>
          </a:xfrm>
          <a:prstGeom prst="rect">
            <a:avLst/>
          </a:prstGeom>
        </p:spPr>
      </p:pic>
    </p:spTree>
    <p:extLst>
      <p:ext uri="{BB962C8B-B14F-4D97-AF65-F5344CB8AC3E}">
        <p14:creationId xmlns:p14="http://schemas.microsoft.com/office/powerpoint/2010/main" val="3528929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44584" y="163872"/>
            <a:ext cx="10175631" cy="1111843"/>
          </a:xfrm>
        </p:spPr>
        <p:txBody>
          <a:bodyPr vert="horz" lIns="91440" tIns="45720" rIns="91440" bIns="45720" rtlCol="0" anchor="ctr">
            <a:normAutofit/>
          </a:bodyPr>
          <a:lstStyle/>
          <a:p>
            <a:pPr algn="l"/>
            <a:r>
              <a:rPr lang="en-US" sz="4000" kern="1200" dirty="0">
                <a:solidFill>
                  <a:schemeClr val="tx1"/>
                </a:solidFill>
                <a:latin typeface="+mj-lt"/>
                <a:ea typeface="+mj-ea"/>
                <a:cs typeface="+mj-cs"/>
              </a:rPr>
              <a:t>Apply for Permits/Cases</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111760" y="976331"/>
            <a:ext cx="12191999" cy="1226264"/>
          </a:xfrm>
        </p:spPr>
        <p:txBody>
          <a:bodyPr vert="horz" lIns="91440" tIns="45720" rIns="91440" bIns="45720" rtlCol="0" anchor="ctr">
            <a:normAutofit/>
          </a:bodyPr>
          <a:lstStyle/>
          <a:p>
            <a:r>
              <a:rPr lang="en-US" sz="1800" dirty="0"/>
              <a:t>Once registered/logged in you will be taken to the Home Page. Select the blue button “</a:t>
            </a:r>
            <a:r>
              <a:rPr lang="en-US" sz="1800" b="1" dirty="0"/>
              <a:t>+ Apply for Permits/Cases</a:t>
            </a:r>
            <a:r>
              <a:rPr lang="en-US" sz="1800" dirty="0"/>
              <a:t>”  </a:t>
            </a:r>
          </a:p>
          <a:p>
            <a:pPr marL="0" indent="0">
              <a:buNone/>
            </a:pPr>
            <a:r>
              <a:rPr lang="en-US" sz="1800" dirty="0">
                <a:highlight>
                  <a:srgbClr val="FFFF00"/>
                </a:highlight>
              </a:rPr>
              <a:t>Please note the following steps are </a:t>
            </a:r>
            <a:r>
              <a:rPr lang="en-US" sz="1800" b="1" u="sng" dirty="0">
                <a:highlight>
                  <a:srgbClr val="FFFF00"/>
                </a:highlight>
              </a:rPr>
              <a:t>NOT</a:t>
            </a:r>
            <a:r>
              <a:rPr lang="en-US" sz="1800" dirty="0">
                <a:highlight>
                  <a:srgbClr val="FFFF00"/>
                </a:highlight>
              </a:rPr>
              <a:t> for applying for your Electric Permit, this is only used for Design Intake Purposes. For permit information, please visit the Development Services Departments, </a:t>
            </a:r>
            <a:r>
              <a:rPr lang="en-US" sz="1800" u="sng" dirty="0">
                <a:solidFill>
                  <a:srgbClr val="0563C1"/>
                </a:solidFill>
                <a:effectLst/>
                <a:highlight>
                  <a:srgbClr val="FFFF00"/>
                </a:highlight>
                <a:latin typeface="Calibri" panose="020F0502020204030204" pitchFamily="34" charset="0"/>
                <a:ea typeface="Times New Roman" panose="02020603050405020304" pitchFamily="18" charset="0"/>
                <a:hlinkClick r:id="rId2"/>
              </a:rPr>
              <a:t>Understanding the Development Process</a:t>
            </a:r>
            <a:r>
              <a:rPr lang="en-US" sz="1800" u="sng" dirty="0">
                <a:solidFill>
                  <a:srgbClr val="0563C1"/>
                </a:solidFill>
                <a:effectLst/>
                <a:highlight>
                  <a:srgbClr val="FFFF00"/>
                </a:highlight>
                <a:latin typeface="Calibri" panose="020F0502020204030204" pitchFamily="34" charset="0"/>
                <a:ea typeface="Times New Roman" panose="02020603050405020304" pitchFamily="18" charset="0"/>
              </a:rPr>
              <a:t>, </a:t>
            </a:r>
            <a:r>
              <a:rPr lang="en-US" sz="1800" dirty="0">
                <a:highlight>
                  <a:srgbClr val="FFFF00"/>
                </a:highlight>
              </a:rPr>
              <a:t>page.</a:t>
            </a:r>
            <a:endParaRPr lang="en-US" sz="1800" dirty="0">
              <a:solidFill>
                <a:srgbClr val="FF0000"/>
              </a:solidFill>
              <a:highlight>
                <a:srgbClr val="FFFF00"/>
              </a:highlight>
            </a:endParaRPr>
          </a:p>
        </p:txBody>
      </p:sp>
      <p:pic>
        <p:nvPicPr>
          <p:cNvPr id="5" name="Picture 4">
            <a:extLst>
              <a:ext uri="{FF2B5EF4-FFF2-40B4-BE49-F238E27FC236}">
                <a16:creationId xmlns:a16="http://schemas.microsoft.com/office/drawing/2014/main" id="{6EAEDC42-EF93-ED53-C726-1F6F49B1EC40}"/>
              </a:ext>
            </a:extLst>
          </p:cNvPr>
          <p:cNvPicPr>
            <a:picLocks noChangeAspect="1"/>
          </p:cNvPicPr>
          <p:nvPr/>
        </p:nvPicPr>
        <p:blipFill>
          <a:blip r:embed="rId3"/>
          <a:stretch>
            <a:fillRect/>
          </a:stretch>
        </p:blipFill>
        <p:spPr>
          <a:xfrm>
            <a:off x="349812" y="2202595"/>
            <a:ext cx="11257462" cy="3911621"/>
          </a:xfrm>
          <a:prstGeom prst="rect">
            <a:avLst/>
          </a:prstGeom>
        </p:spPr>
      </p:pic>
    </p:spTree>
    <p:extLst>
      <p:ext uri="{BB962C8B-B14F-4D97-AF65-F5344CB8AC3E}">
        <p14:creationId xmlns:p14="http://schemas.microsoft.com/office/powerpoint/2010/main" val="1207484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215705" y="48255"/>
            <a:ext cx="10175631" cy="1111843"/>
          </a:xfrm>
        </p:spPr>
        <p:txBody>
          <a:bodyPr vert="horz" lIns="91440" tIns="45720" rIns="91440" bIns="45720" rtlCol="0" anchor="ctr">
            <a:normAutofit/>
          </a:bodyPr>
          <a:lstStyle/>
          <a:p>
            <a:pPr algn="l"/>
            <a:r>
              <a:rPr lang="en-US" sz="4000" kern="1200" dirty="0">
                <a:solidFill>
                  <a:schemeClr val="tx1"/>
                </a:solidFill>
                <a:latin typeface="+mj-lt"/>
                <a:ea typeface="+mj-ea"/>
                <a:cs typeface="+mj-cs"/>
              </a:rPr>
              <a:t>Step 1: New Application – Select Type</a:t>
            </a:r>
          </a:p>
        </p:txBody>
      </p:sp>
      <p:pic>
        <p:nvPicPr>
          <p:cNvPr id="5" name="Picture 4">
            <a:extLst>
              <a:ext uri="{FF2B5EF4-FFF2-40B4-BE49-F238E27FC236}">
                <a16:creationId xmlns:a16="http://schemas.microsoft.com/office/drawing/2014/main" id="{AD24B124-90D4-3E00-61BC-2F5A0D24BB1E}"/>
              </a:ext>
            </a:extLst>
          </p:cNvPr>
          <p:cNvPicPr>
            <a:picLocks noChangeAspect="1"/>
          </p:cNvPicPr>
          <p:nvPr/>
        </p:nvPicPr>
        <p:blipFill>
          <a:blip r:embed="rId2"/>
          <a:stretch>
            <a:fillRect/>
          </a:stretch>
        </p:blipFill>
        <p:spPr>
          <a:xfrm>
            <a:off x="338060" y="1112751"/>
            <a:ext cx="11084560" cy="4921328"/>
          </a:xfrm>
          <a:prstGeom prst="rect">
            <a:avLst/>
          </a:prstGeom>
        </p:spPr>
      </p:pic>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146649" y="604177"/>
            <a:ext cx="2922651" cy="4304254"/>
          </a:xfrm>
        </p:spPr>
        <p:txBody>
          <a:bodyPr vert="horz" lIns="91440" tIns="45720" rIns="91440" bIns="45720" rtlCol="0" anchor="ctr">
            <a:normAutofit/>
          </a:bodyPr>
          <a:lstStyle/>
          <a:p>
            <a:r>
              <a:rPr lang="en-US" sz="1800" dirty="0"/>
              <a:t>From the “</a:t>
            </a:r>
            <a:r>
              <a:rPr lang="en-US" sz="1800" b="1" dirty="0"/>
              <a:t>Application Type</a:t>
            </a:r>
            <a:r>
              <a:rPr lang="en-US" sz="1800" dirty="0"/>
              <a:t>”</a:t>
            </a:r>
            <a:r>
              <a:rPr lang="en-US" sz="1800" b="1" dirty="0"/>
              <a:t> </a:t>
            </a:r>
            <a:r>
              <a:rPr lang="en-US" sz="1800" dirty="0"/>
              <a:t>drop down, select the first option “</a:t>
            </a:r>
            <a:r>
              <a:rPr lang="en-US" sz="1800" b="1" dirty="0"/>
              <a:t>Austin Energy Additional Services</a:t>
            </a:r>
            <a:r>
              <a:rPr lang="en-US" sz="1800" dirty="0"/>
              <a:t>” referred to as </a:t>
            </a:r>
            <a:r>
              <a:rPr lang="en-US" sz="1800" b="1" dirty="0"/>
              <a:t>AEAS.</a:t>
            </a:r>
            <a:endParaRPr lang="en-US" sz="1800" b="1" dirty="0">
              <a:highlight>
                <a:srgbClr val="FFFF00"/>
              </a:highlight>
            </a:endParaRPr>
          </a:p>
        </p:txBody>
      </p:sp>
      <p:cxnSp>
        <p:nvCxnSpPr>
          <p:cNvPr id="7" name="Straight Arrow Connector 6">
            <a:extLst>
              <a:ext uri="{FF2B5EF4-FFF2-40B4-BE49-F238E27FC236}">
                <a16:creationId xmlns:a16="http://schemas.microsoft.com/office/drawing/2014/main" id="{FF03440C-7AC0-5F81-CE15-D8E66AF8B078}"/>
              </a:ext>
            </a:extLst>
          </p:cNvPr>
          <p:cNvCxnSpPr/>
          <p:nvPr/>
        </p:nvCxnSpPr>
        <p:spPr>
          <a:xfrm>
            <a:off x="2696438" y="4492102"/>
            <a:ext cx="745724" cy="177553"/>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4350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337624" y="82592"/>
            <a:ext cx="10561775" cy="1086703"/>
          </a:xfrm>
        </p:spPr>
        <p:txBody>
          <a:bodyPr vert="horz" lIns="91440" tIns="45720" rIns="91440" bIns="45720" rtlCol="0" anchor="ctr">
            <a:normAutofit/>
          </a:bodyPr>
          <a:lstStyle/>
          <a:p>
            <a:pPr algn="l"/>
            <a:r>
              <a:rPr lang="en-US" sz="4000" kern="1200" dirty="0">
                <a:solidFill>
                  <a:schemeClr val="tx1"/>
                </a:solidFill>
                <a:latin typeface="+mj-lt"/>
                <a:ea typeface="+mj-ea"/>
                <a:cs typeface="+mj-cs"/>
              </a:rPr>
              <a:t>Step 1 (cont.) New Application – Select Type</a:t>
            </a:r>
          </a:p>
        </p:txBody>
      </p:sp>
      <p:pic>
        <p:nvPicPr>
          <p:cNvPr id="6" name="Picture 5">
            <a:extLst>
              <a:ext uri="{FF2B5EF4-FFF2-40B4-BE49-F238E27FC236}">
                <a16:creationId xmlns:a16="http://schemas.microsoft.com/office/drawing/2014/main" id="{E2839908-29F3-2B55-B890-38F77D58060B}"/>
              </a:ext>
            </a:extLst>
          </p:cNvPr>
          <p:cNvPicPr>
            <a:picLocks noChangeAspect="1"/>
          </p:cNvPicPr>
          <p:nvPr/>
        </p:nvPicPr>
        <p:blipFill>
          <a:blip r:embed="rId2"/>
          <a:stretch>
            <a:fillRect/>
          </a:stretch>
        </p:blipFill>
        <p:spPr>
          <a:xfrm>
            <a:off x="1566168" y="1518643"/>
            <a:ext cx="10279639" cy="4997441"/>
          </a:xfrm>
          <a:prstGeom prst="rect">
            <a:avLst/>
          </a:prstGeom>
        </p:spPr>
      </p:pic>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417251" y="2369380"/>
            <a:ext cx="3120334" cy="1536794"/>
          </a:xfrm>
        </p:spPr>
        <p:txBody>
          <a:bodyPr vert="horz" lIns="91440" tIns="45720" rIns="91440" bIns="45720" rtlCol="0" anchor="ctr">
            <a:normAutofit/>
          </a:bodyPr>
          <a:lstStyle/>
          <a:p>
            <a:r>
              <a:rPr lang="en-US" sz="1800" dirty="0"/>
              <a:t>From the “</a:t>
            </a:r>
            <a:r>
              <a:rPr lang="en-US" sz="1800" b="1" dirty="0"/>
              <a:t>Sub Type</a:t>
            </a:r>
            <a:r>
              <a:rPr lang="en-US" sz="1800" dirty="0"/>
              <a:t>” drop down, select the second option, </a:t>
            </a:r>
            <a:r>
              <a:rPr lang="en-US" sz="1800" b="1" dirty="0"/>
              <a:t>“Design Intake”</a:t>
            </a:r>
            <a:endParaRPr lang="en-US" sz="1800" b="1" dirty="0">
              <a:highlight>
                <a:srgbClr val="FFFF00"/>
              </a:highlight>
            </a:endParaRPr>
          </a:p>
        </p:txBody>
      </p:sp>
      <p:cxnSp>
        <p:nvCxnSpPr>
          <p:cNvPr id="5" name="Straight Arrow Connector 4">
            <a:extLst>
              <a:ext uri="{FF2B5EF4-FFF2-40B4-BE49-F238E27FC236}">
                <a16:creationId xmlns:a16="http://schemas.microsoft.com/office/drawing/2014/main" id="{2BB5DF61-022C-345F-2D97-AC466BA445C7}"/>
              </a:ext>
            </a:extLst>
          </p:cNvPr>
          <p:cNvCxnSpPr>
            <a:cxnSpLocks/>
          </p:cNvCxnSpPr>
          <p:nvPr/>
        </p:nvCxnSpPr>
        <p:spPr>
          <a:xfrm>
            <a:off x="3630967" y="5726097"/>
            <a:ext cx="861134" cy="159798"/>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703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95205" y="-136117"/>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1 (cont.) New Application – Select Type</a:t>
            </a:r>
          </a:p>
        </p:txBody>
      </p:sp>
      <p:pic>
        <p:nvPicPr>
          <p:cNvPr id="10" name="Picture 9">
            <a:extLst>
              <a:ext uri="{FF2B5EF4-FFF2-40B4-BE49-F238E27FC236}">
                <a16:creationId xmlns:a16="http://schemas.microsoft.com/office/drawing/2014/main" id="{3242EAFE-FD28-0D7A-F659-6EE44FECCFEA}"/>
              </a:ext>
            </a:extLst>
          </p:cNvPr>
          <p:cNvPicPr>
            <a:picLocks noChangeAspect="1"/>
          </p:cNvPicPr>
          <p:nvPr/>
        </p:nvPicPr>
        <p:blipFill>
          <a:blip r:embed="rId2"/>
          <a:stretch>
            <a:fillRect/>
          </a:stretch>
        </p:blipFill>
        <p:spPr>
          <a:xfrm>
            <a:off x="1677506" y="1089955"/>
            <a:ext cx="10140849" cy="5554052"/>
          </a:xfrm>
          <a:prstGeom prst="rect">
            <a:avLst/>
          </a:prstGeom>
        </p:spPr>
      </p:pic>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172528" y="1293962"/>
            <a:ext cx="4710022" cy="3486531"/>
          </a:xfrm>
        </p:spPr>
        <p:txBody>
          <a:bodyPr vert="horz" lIns="91440" tIns="45720" rIns="91440" bIns="45720" rtlCol="0" anchor="ctr">
            <a:normAutofit/>
          </a:bodyPr>
          <a:lstStyle/>
          <a:p>
            <a:r>
              <a:rPr lang="en-US" sz="1800" dirty="0"/>
              <a:t>From the “</a:t>
            </a:r>
            <a:r>
              <a:rPr lang="en-US" sz="1800" b="1" dirty="0"/>
              <a:t>Work Type</a:t>
            </a:r>
            <a:r>
              <a:rPr lang="en-US" sz="1800" dirty="0"/>
              <a:t>”</a:t>
            </a:r>
            <a:r>
              <a:rPr lang="en-US" sz="1800" b="1" dirty="0"/>
              <a:t> </a:t>
            </a:r>
            <a:r>
              <a:rPr lang="en-US" sz="1800" dirty="0"/>
              <a:t>drop down, select either, “</a:t>
            </a:r>
            <a:r>
              <a:rPr lang="en-US" sz="1800" b="1" dirty="0"/>
              <a:t>Design Consult or Design Submission</a:t>
            </a:r>
            <a:r>
              <a:rPr lang="en-US" sz="1800" dirty="0"/>
              <a:t>”.  </a:t>
            </a:r>
          </a:p>
          <a:p>
            <a:r>
              <a:rPr lang="en-US" sz="1800" dirty="0"/>
              <a:t>Click “</a:t>
            </a:r>
            <a:r>
              <a:rPr lang="en-US" sz="1800" b="1" dirty="0"/>
              <a:t>Continue</a:t>
            </a:r>
            <a:r>
              <a:rPr lang="en-US" sz="1800" dirty="0"/>
              <a:t>”</a:t>
            </a:r>
            <a:endParaRPr lang="en-US" sz="1800" dirty="0">
              <a:highlight>
                <a:srgbClr val="FFFF00"/>
              </a:highlight>
            </a:endParaRPr>
          </a:p>
        </p:txBody>
      </p:sp>
    </p:spTree>
    <p:extLst>
      <p:ext uri="{BB962C8B-B14F-4D97-AF65-F5344CB8AC3E}">
        <p14:creationId xmlns:p14="http://schemas.microsoft.com/office/powerpoint/2010/main" val="470367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95205" y="-4037"/>
            <a:ext cx="948144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1 (cont.) Application Information</a:t>
            </a:r>
          </a:p>
        </p:txBody>
      </p:sp>
      <p:pic>
        <p:nvPicPr>
          <p:cNvPr id="5" name="Picture 4">
            <a:extLst>
              <a:ext uri="{FF2B5EF4-FFF2-40B4-BE49-F238E27FC236}">
                <a16:creationId xmlns:a16="http://schemas.microsoft.com/office/drawing/2014/main" id="{9EA6A578-5EB7-8F36-CB25-51330BFBD397}"/>
              </a:ext>
            </a:extLst>
          </p:cNvPr>
          <p:cNvPicPr>
            <a:picLocks noChangeAspect="1"/>
          </p:cNvPicPr>
          <p:nvPr/>
        </p:nvPicPr>
        <p:blipFill>
          <a:blip r:embed="rId2"/>
          <a:stretch>
            <a:fillRect/>
          </a:stretch>
        </p:blipFill>
        <p:spPr>
          <a:xfrm>
            <a:off x="299720" y="1721064"/>
            <a:ext cx="11592560" cy="4234803"/>
          </a:xfrm>
          <a:prstGeom prst="rect">
            <a:avLst/>
          </a:prstGeom>
        </p:spPr>
      </p:pic>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163904" y="782617"/>
            <a:ext cx="3494200" cy="5510982"/>
          </a:xfrm>
        </p:spPr>
        <p:txBody>
          <a:bodyPr vert="horz" lIns="91440" tIns="45720" rIns="91440" bIns="45720" rtlCol="0" anchor="ctr">
            <a:normAutofit/>
          </a:bodyPr>
          <a:lstStyle/>
          <a:p>
            <a:r>
              <a:rPr lang="en-US" sz="1800" dirty="0"/>
              <a:t>From the “</a:t>
            </a:r>
            <a:r>
              <a:rPr lang="en-US" sz="1800" b="1" dirty="0"/>
              <a:t>Applicant</a:t>
            </a:r>
            <a:r>
              <a:rPr lang="en-US" sz="1800" dirty="0"/>
              <a:t>” drop down, select your name. </a:t>
            </a:r>
          </a:p>
          <a:p>
            <a:r>
              <a:rPr lang="en-US" sz="1800" dirty="0"/>
              <a:t>In the “</a:t>
            </a:r>
            <a:r>
              <a:rPr lang="en-US" sz="1800" b="1" dirty="0"/>
              <a:t>Folder Description</a:t>
            </a:r>
            <a:r>
              <a:rPr lang="en-US" sz="1800" dirty="0"/>
              <a:t>” field, please be as descriptive as possible regarding your scope of work for the project. </a:t>
            </a:r>
          </a:p>
          <a:p>
            <a:r>
              <a:rPr lang="en-US" sz="1800" dirty="0"/>
              <a:t>Click “</a:t>
            </a:r>
            <a:r>
              <a:rPr lang="en-US" sz="1800" b="1" dirty="0"/>
              <a:t>Continue</a:t>
            </a:r>
            <a:r>
              <a:rPr lang="en-US" sz="1800" dirty="0"/>
              <a:t>”.</a:t>
            </a:r>
            <a:endParaRPr lang="en-US" sz="1800" dirty="0">
              <a:highlight>
                <a:srgbClr val="FFFF00"/>
              </a:highlight>
            </a:endParaRPr>
          </a:p>
        </p:txBody>
      </p:sp>
    </p:spTree>
    <p:extLst>
      <p:ext uri="{BB962C8B-B14F-4D97-AF65-F5344CB8AC3E}">
        <p14:creationId xmlns:p14="http://schemas.microsoft.com/office/powerpoint/2010/main" val="4151018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AC144-E33F-4203-9095-AEB7B705044A}"/>
              </a:ext>
            </a:extLst>
          </p:cNvPr>
          <p:cNvSpPr>
            <a:spLocks noGrp="1"/>
          </p:cNvSpPr>
          <p:nvPr>
            <p:ph type="title"/>
          </p:nvPr>
        </p:nvSpPr>
        <p:spPr>
          <a:xfrm>
            <a:off x="-195205" y="-4037"/>
            <a:ext cx="5498725" cy="1086703"/>
          </a:xfrm>
        </p:spPr>
        <p:txBody>
          <a:bodyPr vert="horz" lIns="91440" tIns="45720" rIns="91440" bIns="45720" rtlCol="0" anchor="ctr">
            <a:normAutofit/>
          </a:bodyPr>
          <a:lstStyle/>
          <a:p>
            <a:r>
              <a:rPr lang="en-US" sz="4000" kern="1200" dirty="0">
                <a:solidFill>
                  <a:schemeClr val="tx1"/>
                </a:solidFill>
                <a:latin typeface="+mj-lt"/>
                <a:ea typeface="+mj-ea"/>
                <a:cs typeface="+mj-cs"/>
              </a:rPr>
              <a:t>Step </a:t>
            </a:r>
            <a:r>
              <a:rPr lang="en-US" sz="4000" dirty="0">
                <a:solidFill>
                  <a:schemeClr val="tx1"/>
                </a:solidFill>
                <a:latin typeface="+mj-lt"/>
                <a:cs typeface="+mj-cs"/>
              </a:rPr>
              <a:t>2:</a:t>
            </a:r>
            <a:r>
              <a:rPr lang="en-US" sz="4000" kern="1200" dirty="0">
                <a:solidFill>
                  <a:schemeClr val="tx1"/>
                </a:solidFill>
                <a:latin typeface="+mj-lt"/>
                <a:ea typeface="+mj-ea"/>
                <a:cs typeface="+mj-cs"/>
              </a:rPr>
              <a:t> Property Details</a:t>
            </a:r>
          </a:p>
        </p:txBody>
      </p:sp>
      <p:sp>
        <p:nvSpPr>
          <p:cNvPr id="3" name="Content Placeholder 2">
            <a:extLst>
              <a:ext uri="{FF2B5EF4-FFF2-40B4-BE49-F238E27FC236}">
                <a16:creationId xmlns:a16="http://schemas.microsoft.com/office/drawing/2014/main" id="{9DEBF150-4791-41D4-8707-936AB3C0645C}"/>
              </a:ext>
            </a:extLst>
          </p:cNvPr>
          <p:cNvSpPr>
            <a:spLocks noGrp="1"/>
          </p:cNvSpPr>
          <p:nvPr>
            <p:ph sz="half" idx="1"/>
          </p:nvPr>
        </p:nvSpPr>
        <p:spPr>
          <a:xfrm>
            <a:off x="569342" y="734543"/>
            <a:ext cx="3493699" cy="5321200"/>
          </a:xfrm>
        </p:spPr>
        <p:txBody>
          <a:bodyPr vert="horz" lIns="91440" tIns="45720" rIns="91440" bIns="45720" rtlCol="0" anchor="ctr">
            <a:normAutofit/>
          </a:bodyPr>
          <a:lstStyle/>
          <a:p>
            <a:r>
              <a:rPr lang="en-US" sz="1800" dirty="0"/>
              <a:t>Type the project address in the “</a:t>
            </a:r>
            <a:r>
              <a:rPr lang="en-US" sz="1800" b="1" dirty="0"/>
              <a:t>Street/Segment Number AND Street Name</a:t>
            </a:r>
            <a:r>
              <a:rPr lang="en-US" sz="1800" dirty="0"/>
              <a:t>” field. </a:t>
            </a:r>
          </a:p>
          <a:p>
            <a:r>
              <a:rPr lang="en-US" sz="1800" dirty="0"/>
              <a:t>* Try shortening the street name if results are not initially found. </a:t>
            </a:r>
          </a:p>
          <a:p>
            <a:r>
              <a:rPr lang="en-US" sz="1800" dirty="0"/>
              <a:t>Click “</a:t>
            </a:r>
            <a:r>
              <a:rPr lang="en-US" sz="1800" b="1" dirty="0"/>
              <a:t>Search</a:t>
            </a:r>
            <a:r>
              <a:rPr lang="en-US" sz="1800" dirty="0"/>
              <a:t>” </a:t>
            </a:r>
          </a:p>
          <a:p>
            <a:r>
              <a:rPr lang="en-US" sz="1800" dirty="0"/>
              <a:t>Find the correct address and click “</a:t>
            </a:r>
            <a:r>
              <a:rPr lang="en-US" sz="1800" b="1" dirty="0"/>
              <a:t>Select</a:t>
            </a:r>
            <a:r>
              <a:rPr lang="en-US" sz="1800" dirty="0"/>
              <a:t>” </a:t>
            </a:r>
          </a:p>
          <a:p>
            <a:r>
              <a:rPr lang="en-US" sz="1800" dirty="0"/>
              <a:t>Click “</a:t>
            </a:r>
            <a:r>
              <a:rPr lang="en-US" sz="1800" b="1" dirty="0"/>
              <a:t>Continue</a:t>
            </a:r>
            <a:r>
              <a:rPr lang="en-US" sz="1800" dirty="0"/>
              <a:t>”.</a:t>
            </a:r>
            <a:endParaRPr lang="en-US" sz="1800" dirty="0">
              <a:highlight>
                <a:srgbClr val="FFFF00"/>
              </a:highlight>
            </a:endParaRPr>
          </a:p>
        </p:txBody>
      </p:sp>
      <p:pic>
        <p:nvPicPr>
          <p:cNvPr id="10" name="Picture 9">
            <a:extLst>
              <a:ext uri="{FF2B5EF4-FFF2-40B4-BE49-F238E27FC236}">
                <a16:creationId xmlns:a16="http://schemas.microsoft.com/office/drawing/2014/main" id="{0A59A753-D6FC-F848-3623-BCFAE8D5E096}"/>
              </a:ext>
            </a:extLst>
          </p:cNvPr>
          <p:cNvPicPr>
            <a:picLocks noChangeAspect="1"/>
          </p:cNvPicPr>
          <p:nvPr/>
        </p:nvPicPr>
        <p:blipFill>
          <a:blip r:embed="rId2"/>
          <a:stretch>
            <a:fillRect/>
          </a:stretch>
        </p:blipFill>
        <p:spPr>
          <a:xfrm>
            <a:off x="6214713" y="138032"/>
            <a:ext cx="4419577" cy="6642339"/>
          </a:xfrm>
          <a:prstGeom prst="rect">
            <a:avLst/>
          </a:prstGeom>
        </p:spPr>
      </p:pic>
    </p:spTree>
    <p:extLst>
      <p:ext uri="{BB962C8B-B14F-4D97-AF65-F5344CB8AC3E}">
        <p14:creationId xmlns:p14="http://schemas.microsoft.com/office/powerpoint/2010/main" val="3624459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1_Austin Energy PowerPoint">
  <a:themeElements>
    <a:clrScheme name="austin energy F">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Austin Energy">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dirty="0" err="1"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65000"/>
              <a:lumOff val="35000"/>
            </a:schemeClr>
          </a:solidFill>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err="1" smtClean="0">
            <a:solidFill>
              <a:schemeClr val="tx1">
                <a:lumMod val="85000"/>
                <a:lumOff val="15000"/>
              </a:schemeClr>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Austin Energy PowerPoint" id="{E344AE0C-BD9B-473C-86D2-63EB854A9612}" vid="{9BF89C06-B612-442C-9559-7F959B7FD03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ustin Energy Color P">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Austin Energy">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Austin Energy Color P">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1d1292b-a307-4d1d-9eda-c7d063b86b42">
      <Terms xmlns="http://schemas.microsoft.com/office/infopath/2007/PartnerControls"/>
    </lcf76f155ced4ddcb4097134ff3c332f>
    <TaxCatchAll xmlns="295aca4b-5fba-4ad2-b771-1b7b3ca56b1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A853AF7E5640439B0CBF5665BE6688" ma:contentTypeVersion="23" ma:contentTypeDescription="Create a new document." ma:contentTypeScope="" ma:versionID="483f727dedb193fa2bde3aa052094773">
  <xsd:schema xmlns:xsd="http://www.w3.org/2001/XMLSchema" xmlns:xs="http://www.w3.org/2001/XMLSchema" xmlns:p="http://schemas.microsoft.com/office/2006/metadata/properties" xmlns:ns2="a1d1292b-a307-4d1d-9eda-c7d063b86b42" xmlns:ns3="295aca4b-5fba-4ad2-b771-1b7b3ca56b15" targetNamespace="http://schemas.microsoft.com/office/2006/metadata/properties" ma:root="true" ma:fieldsID="b44f57754bff0d4302ec1a8c3b66053a" ns2:_="" ns3:_="">
    <xsd:import namespace="a1d1292b-a307-4d1d-9eda-c7d063b86b42"/>
    <xsd:import namespace="295aca4b-5fba-4ad2-b771-1b7b3ca56b1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d1292b-a307-4d1d-9eda-c7d063b86b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59d1f41d-757d-4ba5-a34e-6b29e202a6a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95aca4b-5fba-4ad2-b771-1b7b3ca56b1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3e8c98fa-80ef-4454-b177-300154bd31b6}" ma:internalName="TaxCatchAll" ma:showField="CatchAllData" ma:web="295aca4b-5fba-4ad2-b771-1b7b3ca56b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file>

<file path=customXml/itemProps1.xml><?xml version="1.0" encoding="utf-8"?>
<ds:datastoreItem xmlns:ds="http://schemas.openxmlformats.org/officeDocument/2006/customXml" ds:itemID="{93D3A0F8-50AF-42EE-B82F-87E146890D69}">
  <ds:schemaRefs>
    <ds:schemaRef ds:uri="http://schemas.microsoft.com/office/2006/documentManagement/types"/>
    <ds:schemaRef ds:uri="http://schemas.microsoft.com/office/infopath/2007/PartnerControls"/>
    <ds:schemaRef ds:uri="http://www.w3.org/XML/1998/namespace"/>
    <ds:schemaRef ds:uri="http://schemas.microsoft.com/office/2006/metadata/properties"/>
    <ds:schemaRef ds:uri="http://purl.org/dc/elements/1.1/"/>
    <ds:schemaRef ds:uri="http://schemas.openxmlformats.org/package/2006/metadata/core-properties"/>
    <ds:schemaRef ds:uri="http://purl.org/dc/dcmitype/"/>
    <ds:schemaRef ds:uri="http://schemas.microsoft.com/sharepoint/v3"/>
    <ds:schemaRef ds:uri="http://purl.org/dc/terms/"/>
    <ds:schemaRef ds:uri="a1d1292b-a307-4d1d-9eda-c7d063b86b42"/>
    <ds:schemaRef ds:uri="295aca4b-5fba-4ad2-b771-1b7b3ca56b15"/>
  </ds:schemaRefs>
</ds:datastoreItem>
</file>

<file path=customXml/itemProps2.xml><?xml version="1.0" encoding="utf-8"?>
<ds:datastoreItem xmlns:ds="http://schemas.openxmlformats.org/officeDocument/2006/customXml" ds:itemID="{EC2DF077-EF86-462C-9D65-7005B6134B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d1292b-a307-4d1d-9eda-c7d063b86b42"/>
    <ds:schemaRef ds:uri="295aca4b-5fba-4ad2-b771-1b7b3ca56b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2E48EE-F465-4C92-9608-C5CEE11C4CAA}">
  <ds:schemaRefs>
    <ds:schemaRef ds:uri="http://schemas.microsoft.com/sharepoint/v3/contenttype/forms"/>
  </ds:schemaRefs>
</ds:datastoreItem>
</file>

<file path=docMetadata/LabelInfo.xml><?xml version="1.0" encoding="utf-8"?>
<clbl:labelList xmlns:clbl="http://schemas.microsoft.com/office/2020/mipLabelMetadata">
  <clbl:label id="{487ff0d5-859f-4698-9b9b-079befd22fd5}" enabled="1" method="Standard" siteId="{482dc10d-9180-4c99-816e-70ee2557afd5}" removed="0"/>
</clbl:labelList>
</file>

<file path=docProps/app.xml><?xml version="1.0" encoding="utf-8"?>
<Properties xmlns="http://schemas.openxmlformats.org/officeDocument/2006/extended-properties" xmlns:vt="http://schemas.openxmlformats.org/officeDocument/2006/docPropsVTypes">
  <Template>Austin Energy PowerPoint (2)</Template>
  <TotalTime>2318</TotalTime>
  <Words>745</Words>
  <Application>Microsoft Office PowerPoint</Application>
  <PresentationFormat>Widescreen</PresentationFormat>
  <Paragraphs>48</Paragraphs>
  <Slides>16</Slides>
  <Notes>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6</vt:i4>
      </vt:variant>
    </vt:vector>
  </HeadingPairs>
  <TitlesOfParts>
    <vt:vector size="24" baseType="lpstr">
      <vt:lpstr>Arial</vt:lpstr>
      <vt:lpstr>Calibri</vt:lpstr>
      <vt:lpstr>Calibri Light</vt:lpstr>
      <vt:lpstr>Microsoft Sans Serif</vt:lpstr>
      <vt:lpstr>Nunito</vt:lpstr>
      <vt:lpstr>Nunito Light</vt:lpstr>
      <vt:lpstr>1_Austin Energy PowerPoint</vt:lpstr>
      <vt:lpstr>Office Theme</vt:lpstr>
      <vt:lpstr>Complete an Intake Request</vt:lpstr>
      <vt:lpstr>Register a New Account/Login</vt:lpstr>
      <vt:lpstr>Quick Tip</vt:lpstr>
      <vt:lpstr>Apply for Permits/Cases</vt:lpstr>
      <vt:lpstr>Step 1: New Application – Select Type</vt:lpstr>
      <vt:lpstr>Step 1 (cont.) New Application – Select Type</vt:lpstr>
      <vt:lpstr>Step 1 (cont.) New Application – Select Type</vt:lpstr>
      <vt:lpstr>Step 1 (cont.) Application Information</vt:lpstr>
      <vt:lpstr>Step 2: Property Details</vt:lpstr>
      <vt:lpstr>Step 3: Additional Information</vt:lpstr>
      <vt:lpstr>Step 3 (Con’t) Additional Information</vt:lpstr>
      <vt:lpstr>Step 3 (Con’t) Additional Information</vt:lpstr>
      <vt:lpstr>Step 4: Supporting Documents</vt:lpstr>
      <vt:lpstr>Step 5: New Application Summary - Review</vt:lpstr>
      <vt:lpstr>Post-Submission Information</vt:lpstr>
      <vt:lpstr>PowerPoint Presentation</vt:lpstr>
    </vt:vector>
  </TitlesOfParts>
  <Company>Austin Ener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stin Energy PowerPoint  Corporate Template</dc:title>
  <dc:creator>Hannah Kay</dc:creator>
  <cp:lastModifiedBy>Taylor, Crystal</cp:lastModifiedBy>
  <cp:revision>83</cp:revision>
  <dcterms:created xsi:type="dcterms:W3CDTF">2018-07-23T20:27:34Z</dcterms:created>
  <dcterms:modified xsi:type="dcterms:W3CDTF">2024-12-09T12:3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7" name="ContentTypeId">
    <vt:lpwstr>0x01010081A853AF7E5640439B0CBF5665BE6688</vt:lpwstr>
  </property>
</Properties>
</file>